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2" r:id="rId4"/>
  </p:sldMasterIdLst>
  <p:notesMasterIdLst>
    <p:notesMasterId r:id="rId12"/>
  </p:notesMasterIdLst>
  <p:sldIdLst>
    <p:sldId id="256" r:id="rId5"/>
    <p:sldId id="328" r:id="rId6"/>
    <p:sldId id="2147471063" r:id="rId7"/>
    <p:sldId id="2147471064" r:id="rId8"/>
    <p:sldId id="2147471067" r:id="rId9"/>
    <p:sldId id="2147471065" r:id="rId10"/>
    <p:sldId id="2147471066" r:id="rId11"/>
  </p:sldIdLst>
  <p:sldSz cx="9144000" cy="6858000" type="screen4x3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bara, Gladys" initials="FG" lastIdx="21" clrIdx="0">
    <p:extLst>
      <p:ext uri="{19B8F6BF-5375-455C-9EA6-DF929625EA0E}">
        <p15:presenceInfo xmlns:p15="http://schemas.microsoft.com/office/powerpoint/2012/main" userId="S::gladys.fabara@lippincott.com::fb681ce6-97a1-4a9b-813a-2c63b585114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C2AA"/>
    <a:srgbClr val="001C71"/>
    <a:srgbClr val="000000"/>
    <a:srgbClr val="0D0D0D"/>
    <a:srgbClr val="BFDCE8"/>
    <a:srgbClr val="7FB9D1"/>
    <a:srgbClr val="59A5C3"/>
    <a:srgbClr val="3390B5"/>
    <a:srgbClr val="FAFDFD"/>
    <a:srgbClr val="E4F1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4" autoAdjust="0"/>
    <p:restoredTop sz="96516"/>
  </p:normalViewPr>
  <p:slideViewPr>
    <p:cSldViewPr snapToGrid="0" snapToObjects="1">
      <p:cViewPr>
        <p:scale>
          <a:sx n="64" d="100"/>
          <a:sy n="64" d="100"/>
        </p:scale>
        <p:origin x="1311" y="45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320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2724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ornejo, Jesus" userId="d4e69922-86c5-4092-b876-a67d6d89bb9b" providerId="ADAL" clId="{014D1F7F-8F8F-48CC-A92F-92123A43D2BE}"/>
    <pc:docChg chg="undo redo custSel addSld delSld modSld">
      <pc:chgData name="Cornejo, Jesus" userId="d4e69922-86c5-4092-b876-a67d6d89bb9b" providerId="ADAL" clId="{014D1F7F-8F8F-48CC-A92F-92123A43D2BE}" dt="2023-08-09T17:34:25.576" v="465" actId="47"/>
      <pc:docMkLst>
        <pc:docMk/>
      </pc:docMkLst>
      <pc:sldChg chg="del">
        <pc:chgData name="Cornejo, Jesus" userId="d4e69922-86c5-4092-b876-a67d6d89bb9b" providerId="ADAL" clId="{014D1F7F-8F8F-48CC-A92F-92123A43D2BE}" dt="2023-08-09T17:33:47.522" v="461" actId="47"/>
        <pc:sldMkLst>
          <pc:docMk/>
          <pc:sldMk cId="3514634282" sldId="260"/>
        </pc:sldMkLst>
      </pc:sldChg>
      <pc:sldChg chg="del">
        <pc:chgData name="Cornejo, Jesus" userId="d4e69922-86c5-4092-b876-a67d6d89bb9b" providerId="ADAL" clId="{014D1F7F-8F8F-48CC-A92F-92123A43D2BE}" dt="2023-08-09T17:33:49.632" v="464" actId="47"/>
        <pc:sldMkLst>
          <pc:docMk/>
          <pc:sldMk cId="3527205000" sldId="268"/>
        </pc:sldMkLst>
      </pc:sldChg>
      <pc:sldChg chg="del">
        <pc:chgData name="Cornejo, Jesus" userId="d4e69922-86c5-4092-b876-a67d6d89bb9b" providerId="ADAL" clId="{014D1F7F-8F8F-48CC-A92F-92123A43D2BE}" dt="2023-08-09T17:33:47.666" v="462" actId="47"/>
        <pc:sldMkLst>
          <pc:docMk/>
          <pc:sldMk cId="4152664377" sldId="282"/>
        </pc:sldMkLst>
      </pc:sldChg>
      <pc:sldChg chg="del">
        <pc:chgData name="Cornejo, Jesus" userId="d4e69922-86c5-4092-b876-a67d6d89bb9b" providerId="ADAL" clId="{014D1F7F-8F8F-48CC-A92F-92123A43D2BE}" dt="2023-08-09T17:33:47.812" v="463" actId="47"/>
        <pc:sldMkLst>
          <pc:docMk/>
          <pc:sldMk cId="3333736263" sldId="288"/>
        </pc:sldMkLst>
      </pc:sldChg>
      <pc:sldChg chg="del">
        <pc:chgData name="Cornejo, Jesus" userId="d4e69922-86c5-4092-b876-a67d6d89bb9b" providerId="ADAL" clId="{014D1F7F-8F8F-48CC-A92F-92123A43D2BE}" dt="2023-08-09T17:33:44.691" v="456" actId="47"/>
        <pc:sldMkLst>
          <pc:docMk/>
          <pc:sldMk cId="3115229561" sldId="293"/>
        </pc:sldMkLst>
      </pc:sldChg>
      <pc:sldChg chg="del">
        <pc:chgData name="Cornejo, Jesus" userId="d4e69922-86c5-4092-b876-a67d6d89bb9b" providerId="ADAL" clId="{014D1F7F-8F8F-48CC-A92F-92123A43D2BE}" dt="2023-08-09T17:33:44.745" v="458" actId="47"/>
        <pc:sldMkLst>
          <pc:docMk/>
          <pc:sldMk cId="3761259386" sldId="295"/>
        </pc:sldMkLst>
      </pc:sldChg>
      <pc:sldChg chg="del">
        <pc:chgData name="Cornejo, Jesus" userId="d4e69922-86c5-4092-b876-a67d6d89bb9b" providerId="ADAL" clId="{014D1F7F-8F8F-48CC-A92F-92123A43D2BE}" dt="2023-08-09T17:33:44.801" v="459" actId="47"/>
        <pc:sldMkLst>
          <pc:docMk/>
          <pc:sldMk cId="3541136981" sldId="297"/>
        </pc:sldMkLst>
      </pc:sldChg>
      <pc:sldChg chg="add del">
        <pc:chgData name="Cornejo, Jesus" userId="d4e69922-86c5-4092-b876-a67d6d89bb9b" providerId="ADAL" clId="{014D1F7F-8F8F-48CC-A92F-92123A43D2BE}" dt="2023-08-09T17:33:44.573" v="453" actId="47"/>
        <pc:sldMkLst>
          <pc:docMk/>
          <pc:sldMk cId="2664455899" sldId="316"/>
        </pc:sldMkLst>
      </pc:sldChg>
      <pc:sldChg chg="del">
        <pc:chgData name="Cornejo, Jesus" userId="d4e69922-86c5-4092-b876-a67d6d89bb9b" providerId="ADAL" clId="{014D1F7F-8F8F-48CC-A92F-92123A43D2BE}" dt="2023-08-09T17:34:25.576" v="465" actId="47"/>
        <pc:sldMkLst>
          <pc:docMk/>
          <pc:sldMk cId="881746159" sldId="317"/>
        </pc:sldMkLst>
      </pc:sldChg>
      <pc:sldChg chg="add del">
        <pc:chgData name="Cornejo, Jesus" userId="d4e69922-86c5-4092-b876-a67d6d89bb9b" providerId="ADAL" clId="{014D1F7F-8F8F-48CC-A92F-92123A43D2BE}" dt="2023-08-09T17:33:44.441" v="449" actId="47"/>
        <pc:sldMkLst>
          <pc:docMk/>
          <pc:sldMk cId="2151270007" sldId="318"/>
        </pc:sldMkLst>
      </pc:sldChg>
      <pc:sldChg chg="del">
        <pc:chgData name="Cornejo, Jesus" userId="d4e69922-86c5-4092-b876-a67d6d89bb9b" providerId="ADAL" clId="{014D1F7F-8F8F-48CC-A92F-92123A43D2BE}" dt="2023-08-09T17:33:47.392" v="460" actId="47"/>
        <pc:sldMkLst>
          <pc:docMk/>
          <pc:sldMk cId="1548751727" sldId="319"/>
        </pc:sldMkLst>
      </pc:sldChg>
      <pc:sldChg chg="del">
        <pc:chgData name="Cornejo, Jesus" userId="d4e69922-86c5-4092-b876-a67d6d89bb9b" providerId="ADAL" clId="{014D1F7F-8F8F-48CC-A92F-92123A43D2BE}" dt="2023-08-09T17:33:44.729" v="457" actId="47"/>
        <pc:sldMkLst>
          <pc:docMk/>
          <pc:sldMk cId="2701440742" sldId="327"/>
        </pc:sldMkLst>
      </pc:sldChg>
      <pc:sldChg chg="addSp delSp modSp mod modAnim">
        <pc:chgData name="Cornejo, Jesus" userId="d4e69922-86c5-4092-b876-a67d6d89bb9b" providerId="ADAL" clId="{014D1F7F-8F8F-48CC-A92F-92123A43D2BE}" dt="2023-08-09T17:16:10.283" v="31" actId="164"/>
        <pc:sldMkLst>
          <pc:docMk/>
          <pc:sldMk cId="1013468824" sldId="328"/>
        </pc:sldMkLst>
        <pc:spChg chg="add del mod">
          <ac:chgData name="Cornejo, Jesus" userId="d4e69922-86c5-4092-b876-a67d6d89bb9b" providerId="ADAL" clId="{014D1F7F-8F8F-48CC-A92F-92123A43D2BE}" dt="2023-08-09T17:15:49.120" v="28" actId="33524"/>
          <ac:spMkLst>
            <pc:docMk/>
            <pc:sldMk cId="1013468824" sldId="328"/>
            <ac:spMk id="2" creationId="{F332B896-23B8-5048-69AA-D5D6E78D7610}"/>
          </ac:spMkLst>
        </pc:spChg>
        <pc:spChg chg="add del mod">
          <ac:chgData name="Cornejo, Jesus" userId="d4e69922-86c5-4092-b876-a67d6d89bb9b" providerId="ADAL" clId="{014D1F7F-8F8F-48CC-A92F-92123A43D2BE}" dt="2023-08-09T17:15:32.206" v="22" actId="20577"/>
          <ac:spMkLst>
            <pc:docMk/>
            <pc:sldMk cId="1013468824" sldId="328"/>
            <ac:spMk id="4" creationId="{5A38E810-2026-7DCD-BDB0-7CA4C1955F43}"/>
          </ac:spMkLst>
        </pc:spChg>
        <pc:spChg chg="del">
          <ac:chgData name="Cornejo, Jesus" userId="d4e69922-86c5-4092-b876-a67d6d89bb9b" providerId="ADAL" clId="{014D1F7F-8F8F-48CC-A92F-92123A43D2BE}" dt="2023-08-09T17:14:42.051" v="0" actId="478"/>
          <ac:spMkLst>
            <pc:docMk/>
            <pc:sldMk cId="1013468824" sldId="328"/>
            <ac:spMk id="5" creationId="{A39ECA6E-7A6A-AE40-AD52-544B950F7A98}"/>
          </ac:spMkLst>
        </pc:spChg>
        <pc:spChg chg="add del mod">
          <ac:chgData name="Cornejo, Jesus" userId="d4e69922-86c5-4092-b876-a67d6d89bb9b" providerId="ADAL" clId="{014D1F7F-8F8F-48CC-A92F-92123A43D2BE}" dt="2023-08-09T17:15:25.949" v="10" actId="478"/>
          <ac:spMkLst>
            <pc:docMk/>
            <pc:sldMk cId="1013468824" sldId="328"/>
            <ac:spMk id="7" creationId="{EFF38748-8A28-77D5-2F99-4383A0D359DF}"/>
          </ac:spMkLst>
        </pc:spChg>
        <pc:spChg chg="add del mod">
          <ac:chgData name="Cornejo, Jesus" userId="d4e69922-86c5-4092-b876-a67d6d89bb9b" providerId="ADAL" clId="{014D1F7F-8F8F-48CC-A92F-92123A43D2BE}" dt="2023-08-09T17:14:54.319" v="6"/>
          <ac:spMkLst>
            <pc:docMk/>
            <pc:sldMk cId="1013468824" sldId="328"/>
            <ac:spMk id="10" creationId="{7C25A8DF-5127-C00F-3E37-A6C56384B5B2}"/>
          </ac:spMkLst>
        </pc:spChg>
        <pc:spChg chg="add del mod">
          <ac:chgData name="Cornejo, Jesus" userId="d4e69922-86c5-4092-b876-a67d6d89bb9b" providerId="ADAL" clId="{014D1F7F-8F8F-48CC-A92F-92123A43D2BE}" dt="2023-08-09T17:15:25.034" v="8"/>
          <ac:spMkLst>
            <pc:docMk/>
            <pc:sldMk cId="1013468824" sldId="328"/>
            <ac:spMk id="14" creationId="{D32A37DB-47BE-9F7A-C275-FAEEF5DE30B4}"/>
          </ac:spMkLst>
        </pc:spChg>
        <pc:spChg chg="add del mod">
          <ac:chgData name="Cornejo, Jesus" userId="d4e69922-86c5-4092-b876-a67d6d89bb9b" providerId="ADAL" clId="{014D1F7F-8F8F-48CC-A92F-92123A43D2BE}" dt="2023-08-09T17:15:25.034" v="8"/>
          <ac:spMkLst>
            <pc:docMk/>
            <pc:sldMk cId="1013468824" sldId="328"/>
            <ac:spMk id="15" creationId="{7631FEF7-5F3C-7331-C8DE-FEB7378938A1}"/>
          </ac:spMkLst>
        </pc:spChg>
        <pc:spChg chg="add del mod">
          <ac:chgData name="Cornejo, Jesus" userId="d4e69922-86c5-4092-b876-a67d6d89bb9b" providerId="ADAL" clId="{014D1F7F-8F8F-48CC-A92F-92123A43D2BE}" dt="2023-08-09T17:15:25.034" v="8"/>
          <ac:spMkLst>
            <pc:docMk/>
            <pc:sldMk cId="1013468824" sldId="328"/>
            <ac:spMk id="16" creationId="{4F0FAFC8-3A54-C8CA-765A-A2699F8AC790}"/>
          </ac:spMkLst>
        </pc:spChg>
        <pc:spChg chg="add mod">
          <ac:chgData name="Cornejo, Jesus" userId="d4e69922-86c5-4092-b876-a67d6d89bb9b" providerId="ADAL" clId="{014D1F7F-8F8F-48CC-A92F-92123A43D2BE}" dt="2023-08-09T17:16:10.283" v="31" actId="164"/>
          <ac:spMkLst>
            <pc:docMk/>
            <pc:sldMk cId="1013468824" sldId="328"/>
            <ac:spMk id="18" creationId="{2B310871-E06D-49F9-5942-1EDF3F210B79}"/>
          </ac:spMkLst>
        </pc:spChg>
        <pc:spChg chg="add mod">
          <ac:chgData name="Cornejo, Jesus" userId="d4e69922-86c5-4092-b876-a67d6d89bb9b" providerId="ADAL" clId="{014D1F7F-8F8F-48CC-A92F-92123A43D2BE}" dt="2023-08-09T17:16:10.283" v="31" actId="164"/>
          <ac:spMkLst>
            <pc:docMk/>
            <pc:sldMk cId="1013468824" sldId="328"/>
            <ac:spMk id="19" creationId="{8512E588-23BE-2DC2-D089-8EA4A3C4B9A4}"/>
          </ac:spMkLst>
        </pc:spChg>
        <pc:grpChg chg="add mod">
          <ac:chgData name="Cornejo, Jesus" userId="d4e69922-86c5-4092-b876-a67d6d89bb9b" providerId="ADAL" clId="{014D1F7F-8F8F-48CC-A92F-92123A43D2BE}" dt="2023-08-09T17:16:10.283" v="31" actId="164"/>
          <ac:grpSpMkLst>
            <pc:docMk/>
            <pc:sldMk cId="1013468824" sldId="328"/>
            <ac:grpSpMk id="20" creationId="{14B2B4CC-9E16-C996-7533-3C1FF148A77B}"/>
          </ac:grpSpMkLst>
        </pc:grpChg>
        <pc:picChg chg="add del mod">
          <ac:chgData name="Cornejo, Jesus" userId="d4e69922-86c5-4092-b876-a67d6d89bb9b" providerId="ADAL" clId="{014D1F7F-8F8F-48CC-A92F-92123A43D2BE}" dt="2023-08-09T17:14:54.319" v="6"/>
          <ac:picMkLst>
            <pc:docMk/>
            <pc:sldMk cId="1013468824" sldId="328"/>
            <ac:picMk id="8" creationId="{A2585C07-4B2B-F96A-C124-B876AF760996}"/>
          </ac:picMkLst>
        </pc:picChg>
        <pc:picChg chg="add del mod">
          <ac:chgData name="Cornejo, Jesus" userId="d4e69922-86c5-4092-b876-a67d6d89bb9b" providerId="ADAL" clId="{014D1F7F-8F8F-48CC-A92F-92123A43D2BE}" dt="2023-08-09T17:15:25.034" v="8"/>
          <ac:picMkLst>
            <pc:docMk/>
            <pc:sldMk cId="1013468824" sldId="328"/>
            <ac:picMk id="12" creationId="{D9617D1A-90D6-EB3A-C443-DCEF4456E82D}"/>
          </ac:picMkLst>
        </pc:picChg>
        <pc:picChg chg="add mod">
          <ac:chgData name="Cornejo, Jesus" userId="d4e69922-86c5-4092-b876-a67d6d89bb9b" providerId="ADAL" clId="{014D1F7F-8F8F-48CC-A92F-92123A43D2BE}" dt="2023-08-09T17:16:10.283" v="31" actId="164"/>
          <ac:picMkLst>
            <pc:docMk/>
            <pc:sldMk cId="1013468824" sldId="328"/>
            <ac:picMk id="17" creationId="{B02600B0-86FF-AA04-6C75-24B0DBB379BB}"/>
          </ac:picMkLst>
        </pc:picChg>
        <pc:cxnChg chg="add del mod">
          <ac:chgData name="Cornejo, Jesus" userId="d4e69922-86c5-4092-b876-a67d6d89bb9b" providerId="ADAL" clId="{014D1F7F-8F8F-48CC-A92F-92123A43D2BE}" dt="2023-08-09T17:14:54.319" v="6"/>
          <ac:cxnSpMkLst>
            <pc:docMk/>
            <pc:sldMk cId="1013468824" sldId="328"/>
            <ac:cxnSpMk id="9" creationId="{69F17D4F-CD10-ACE5-33AE-5E7ADE566B3B}"/>
          </ac:cxnSpMkLst>
        </pc:cxnChg>
        <pc:cxnChg chg="add del mod">
          <ac:chgData name="Cornejo, Jesus" userId="d4e69922-86c5-4092-b876-a67d6d89bb9b" providerId="ADAL" clId="{014D1F7F-8F8F-48CC-A92F-92123A43D2BE}" dt="2023-08-09T17:15:25.034" v="8"/>
          <ac:cxnSpMkLst>
            <pc:docMk/>
            <pc:sldMk cId="1013468824" sldId="328"/>
            <ac:cxnSpMk id="13" creationId="{6067F5E7-B844-C0A1-ACCD-1951BE730C5C}"/>
          </ac:cxnSpMkLst>
        </pc:cxnChg>
      </pc:sldChg>
      <pc:sldChg chg="add del">
        <pc:chgData name="Cornejo, Jesus" userId="d4e69922-86c5-4092-b876-a67d6d89bb9b" providerId="ADAL" clId="{014D1F7F-8F8F-48CC-A92F-92123A43D2BE}" dt="2023-08-09T17:33:44.542" v="452" actId="47"/>
        <pc:sldMkLst>
          <pc:docMk/>
          <pc:sldMk cId="1061186624" sldId="330"/>
        </pc:sldMkLst>
      </pc:sldChg>
      <pc:sldChg chg="add del">
        <pc:chgData name="Cornejo, Jesus" userId="d4e69922-86c5-4092-b876-a67d6d89bb9b" providerId="ADAL" clId="{014D1F7F-8F8F-48CC-A92F-92123A43D2BE}" dt="2023-08-09T17:33:43.936" v="448" actId="47"/>
        <pc:sldMkLst>
          <pc:docMk/>
          <pc:sldMk cId="4235887486" sldId="331"/>
        </pc:sldMkLst>
      </pc:sldChg>
      <pc:sldChg chg="add del">
        <pc:chgData name="Cornejo, Jesus" userId="d4e69922-86c5-4092-b876-a67d6d89bb9b" providerId="ADAL" clId="{014D1F7F-8F8F-48CC-A92F-92123A43D2BE}" dt="2023-08-09T17:33:44.503" v="451" actId="47"/>
        <pc:sldMkLst>
          <pc:docMk/>
          <pc:sldMk cId="1130661964" sldId="332"/>
        </pc:sldMkLst>
      </pc:sldChg>
      <pc:sldChg chg="del">
        <pc:chgData name="Cornejo, Jesus" userId="d4e69922-86c5-4092-b876-a67d6d89bb9b" providerId="ADAL" clId="{014D1F7F-8F8F-48CC-A92F-92123A43D2BE}" dt="2023-08-09T17:33:44.651" v="455" actId="47"/>
        <pc:sldMkLst>
          <pc:docMk/>
          <pc:sldMk cId="4126699146" sldId="2147470996"/>
        </pc:sldMkLst>
      </pc:sldChg>
      <pc:sldChg chg="add del">
        <pc:chgData name="Cornejo, Jesus" userId="d4e69922-86c5-4092-b876-a67d6d89bb9b" providerId="ADAL" clId="{014D1F7F-8F8F-48CC-A92F-92123A43D2BE}" dt="2023-08-09T17:33:44.473" v="450" actId="47"/>
        <pc:sldMkLst>
          <pc:docMk/>
          <pc:sldMk cId="2693181155" sldId="2147470998"/>
        </pc:sldMkLst>
      </pc:sldChg>
      <pc:sldChg chg="add del">
        <pc:chgData name="Cornejo, Jesus" userId="d4e69922-86c5-4092-b876-a67d6d89bb9b" providerId="ADAL" clId="{014D1F7F-8F8F-48CC-A92F-92123A43D2BE}" dt="2023-08-09T17:33:44.615" v="454" actId="47"/>
        <pc:sldMkLst>
          <pc:docMk/>
          <pc:sldMk cId="2028406581" sldId="2147471062"/>
        </pc:sldMkLst>
      </pc:sldChg>
      <pc:sldChg chg="addSp delSp modSp add mod modAnim">
        <pc:chgData name="Cornejo, Jesus" userId="d4e69922-86c5-4092-b876-a67d6d89bb9b" providerId="ADAL" clId="{014D1F7F-8F8F-48CC-A92F-92123A43D2BE}" dt="2023-08-09T17:19:00.299" v="72" actId="1076"/>
        <pc:sldMkLst>
          <pc:docMk/>
          <pc:sldMk cId="1908329667" sldId="2147471063"/>
        </pc:sldMkLst>
        <pc:spChg chg="mod">
          <ac:chgData name="Cornejo, Jesus" userId="d4e69922-86c5-4092-b876-a67d6d89bb9b" providerId="ADAL" clId="{014D1F7F-8F8F-48CC-A92F-92123A43D2BE}" dt="2023-08-09T17:18:36.293" v="67" actId="20577"/>
          <ac:spMkLst>
            <pc:docMk/>
            <pc:sldMk cId="1908329667" sldId="2147471063"/>
            <ac:spMk id="2" creationId="{F332B896-23B8-5048-69AA-D5D6E78D7610}"/>
          </ac:spMkLst>
        </pc:spChg>
        <pc:spChg chg="mod">
          <ac:chgData name="Cornejo, Jesus" userId="d4e69922-86c5-4092-b876-a67d6d89bb9b" providerId="ADAL" clId="{014D1F7F-8F8F-48CC-A92F-92123A43D2BE}" dt="2023-08-09T17:17:28.574" v="48" actId="20577"/>
          <ac:spMkLst>
            <pc:docMk/>
            <pc:sldMk cId="1908329667" sldId="2147471063"/>
            <ac:spMk id="4" creationId="{5A38E810-2026-7DCD-BDB0-7CA4C1955F43}"/>
          </ac:spMkLst>
        </pc:spChg>
        <pc:grpChg chg="del">
          <ac:chgData name="Cornejo, Jesus" userId="d4e69922-86c5-4092-b876-a67d6d89bb9b" providerId="ADAL" clId="{014D1F7F-8F8F-48CC-A92F-92123A43D2BE}" dt="2023-08-09T17:17:23.295" v="33" actId="478"/>
          <ac:grpSpMkLst>
            <pc:docMk/>
            <pc:sldMk cId="1908329667" sldId="2147471063"/>
            <ac:grpSpMk id="20" creationId="{14B2B4CC-9E16-C996-7533-3C1FF148A77B}"/>
          </ac:grpSpMkLst>
        </pc:grpChg>
        <pc:picChg chg="add mod">
          <ac:chgData name="Cornejo, Jesus" userId="d4e69922-86c5-4092-b876-a67d6d89bb9b" providerId="ADAL" clId="{014D1F7F-8F8F-48CC-A92F-92123A43D2BE}" dt="2023-08-09T17:19:00.299" v="72" actId="1076"/>
          <ac:picMkLst>
            <pc:docMk/>
            <pc:sldMk cId="1908329667" sldId="2147471063"/>
            <ac:picMk id="3" creationId="{4D7D2F11-27F8-7DFB-F21E-C007ED1DE20D}"/>
          </ac:picMkLst>
        </pc:picChg>
      </pc:sldChg>
      <pc:sldChg chg="addSp delSp modSp add mod modAnim">
        <pc:chgData name="Cornejo, Jesus" userId="d4e69922-86c5-4092-b876-a67d6d89bb9b" providerId="ADAL" clId="{014D1F7F-8F8F-48CC-A92F-92123A43D2BE}" dt="2023-08-09T17:24:56.464" v="95" actId="1076"/>
        <pc:sldMkLst>
          <pc:docMk/>
          <pc:sldMk cId="3896114171" sldId="2147471064"/>
        </pc:sldMkLst>
        <pc:spChg chg="mod">
          <ac:chgData name="Cornejo, Jesus" userId="d4e69922-86c5-4092-b876-a67d6d89bb9b" providerId="ADAL" clId="{014D1F7F-8F8F-48CC-A92F-92123A43D2BE}" dt="2023-08-09T17:24:36.277" v="91" actId="6549"/>
          <ac:spMkLst>
            <pc:docMk/>
            <pc:sldMk cId="3896114171" sldId="2147471064"/>
            <ac:spMk id="2" creationId="{F332B896-23B8-5048-69AA-D5D6E78D7610}"/>
          </ac:spMkLst>
        </pc:spChg>
        <pc:picChg chg="del">
          <ac:chgData name="Cornejo, Jesus" userId="d4e69922-86c5-4092-b876-a67d6d89bb9b" providerId="ADAL" clId="{014D1F7F-8F8F-48CC-A92F-92123A43D2BE}" dt="2023-08-09T17:20:59.624" v="74" actId="478"/>
          <ac:picMkLst>
            <pc:docMk/>
            <pc:sldMk cId="3896114171" sldId="2147471064"/>
            <ac:picMk id="3" creationId="{4D7D2F11-27F8-7DFB-F21E-C007ED1DE20D}"/>
          </ac:picMkLst>
        </pc:picChg>
        <pc:picChg chg="add mod">
          <ac:chgData name="Cornejo, Jesus" userId="d4e69922-86c5-4092-b876-a67d6d89bb9b" providerId="ADAL" clId="{014D1F7F-8F8F-48CC-A92F-92123A43D2BE}" dt="2023-08-09T17:24:56.464" v="95" actId="1076"/>
          <ac:picMkLst>
            <pc:docMk/>
            <pc:sldMk cId="3896114171" sldId="2147471064"/>
            <ac:picMk id="5" creationId="{A7A5F057-D0CD-DD1E-24C8-30552EB50849}"/>
          </ac:picMkLst>
        </pc:picChg>
      </pc:sldChg>
      <pc:sldChg chg="modSp add mod">
        <pc:chgData name="Cornejo, Jesus" userId="d4e69922-86c5-4092-b876-a67d6d89bb9b" providerId="ADAL" clId="{014D1F7F-8F8F-48CC-A92F-92123A43D2BE}" dt="2023-08-09T17:29:05.624" v="272" actId="113"/>
        <pc:sldMkLst>
          <pc:docMk/>
          <pc:sldMk cId="3727267983" sldId="2147471065"/>
        </pc:sldMkLst>
        <pc:spChg chg="mod">
          <ac:chgData name="Cornejo, Jesus" userId="d4e69922-86c5-4092-b876-a67d6d89bb9b" providerId="ADAL" clId="{014D1F7F-8F8F-48CC-A92F-92123A43D2BE}" dt="2023-08-09T17:29:05.624" v="272" actId="113"/>
          <ac:spMkLst>
            <pc:docMk/>
            <pc:sldMk cId="3727267983" sldId="2147471065"/>
            <ac:spMk id="2" creationId="{F332B896-23B8-5048-69AA-D5D6E78D7610}"/>
          </ac:spMkLst>
        </pc:spChg>
      </pc:sldChg>
      <pc:sldChg chg="addSp modSp add del mod">
        <pc:chgData name="Cornejo, Jesus" userId="d4e69922-86c5-4092-b876-a67d6d89bb9b" providerId="ADAL" clId="{014D1F7F-8F8F-48CC-A92F-92123A43D2BE}" dt="2023-08-09T17:33:41.239" v="447" actId="1076"/>
        <pc:sldMkLst>
          <pc:docMk/>
          <pc:sldMk cId="1072906337" sldId="2147471066"/>
        </pc:sldMkLst>
        <pc:spChg chg="mod">
          <ac:chgData name="Cornejo, Jesus" userId="d4e69922-86c5-4092-b876-a67d6d89bb9b" providerId="ADAL" clId="{014D1F7F-8F8F-48CC-A92F-92123A43D2BE}" dt="2023-08-09T17:32:34.298" v="399" actId="113"/>
          <ac:spMkLst>
            <pc:docMk/>
            <pc:sldMk cId="1072906337" sldId="2147471066"/>
            <ac:spMk id="2" creationId="{F332B896-23B8-5048-69AA-D5D6E78D7610}"/>
          </ac:spMkLst>
        </pc:spChg>
        <pc:graphicFrameChg chg="add mod modGraphic">
          <ac:chgData name="Cornejo, Jesus" userId="d4e69922-86c5-4092-b876-a67d6d89bb9b" providerId="ADAL" clId="{014D1F7F-8F8F-48CC-A92F-92123A43D2BE}" dt="2023-08-09T17:33:41.239" v="447" actId="1076"/>
          <ac:graphicFrameMkLst>
            <pc:docMk/>
            <pc:sldMk cId="1072906337" sldId="2147471066"/>
            <ac:graphicFrameMk id="3" creationId="{04838749-46C2-C0A9-4491-9022AA9A12BE}"/>
          </ac:graphicFrameMkLst>
        </pc:graphicFrameChg>
      </pc:sldChg>
      <pc:sldMasterChg chg="addSldLayout delSldLayout">
        <pc:chgData name="Cornejo, Jesus" userId="d4e69922-86c5-4092-b876-a67d6d89bb9b" providerId="ADAL" clId="{014D1F7F-8F8F-48CC-A92F-92123A43D2BE}" dt="2023-08-09T17:34:25.576" v="465" actId="47"/>
        <pc:sldMasterMkLst>
          <pc:docMk/>
          <pc:sldMasterMk cId="750113124" sldId="2147483682"/>
        </pc:sldMasterMkLst>
        <pc:sldLayoutChg chg="del">
          <pc:chgData name="Cornejo, Jesus" userId="d4e69922-86c5-4092-b876-a67d6d89bb9b" providerId="ADAL" clId="{014D1F7F-8F8F-48CC-A92F-92123A43D2BE}" dt="2023-08-09T17:34:25.576" v="465" actId="47"/>
          <pc:sldLayoutMkLst>
            <pc:docMk/>
            <pc:sldMasterMk cId="750113124" sldId="2147483682"/>
            <pc:sldLayoutMk cId="862179761" sldId="2147483698"/>
          </pc:sldLayoutMkLst>
        </pc:sldLayoutChg>
        <pc:sldLayoutChg chg="add del">
          <pc:chgData name="Cornejo, Jesus" userId="d4e69922-86c5-4092-b876-a67d6d89bb9b" providerId="ADAL" clId="{014D1F7F-8F8F-48CC-A92F-92123A43D2BE}" dt="2023-08-09T17:33:43.936" v="448" actId="47"/>
          <pc:sldLayoutMkLst>
            <pc:docMk/>
            <pc:sldMasterMk cId="750113124" sldId="2147483682"/>
            <pc:sldLayoutMk cId="465443683" sldId="2147483699"/>
          </pc:sldLayoutMkLst>
        </pc:sldLayoutChg>
        <pc:sldLayoutChg chg="del">
          <pc:chgData name="Cornejo, Jesus" userId="d4e69922-86c5-4092-b876-a67d6d89bb9b" providerId="ADAL" clId="{014D1F7F-8F8F-48CC-A92F-92123A43D2BE}" dt="2023-08-09T17:33:47.666" v="462" actId="47"/>
          <pc:sldLayoutMkLst>
            <pc:docMk/>
            <pc:sldMasterMk cId="750113124" sldId="2147483682"/>
            <pc:sldLayoutMk cId="1846177218" sldId="2147483701"/>
          </pc:sldLayoutMkLst>
        </pc:sldLayoutChg>
        <pc:sldLayoutChg chg="del">
          <pc:chgData name="Cornejo, Jesus" userId="d4e69922-86c5-4092-b876-a67d6d89bb9b" providerId="ADAL" clId="{014D1F7F-8F8F-48CC-A92F-92123A43D2BE}" dt="2023-08-09T17:33:47.812" v="463" actId="47"/>
          <pc:sldLayoutMkLst>
            <pc:docMk/>
            <pc:sldMasterMk cId="750113124" sldId="2147483682"/>
            <pc:sldLayoutMk cId="79817273" sldId="2147483702"/>
          </pc:sldLayoutMkLst>
        </pc:sldLayoutChg>
        <pc:sldLayoutChg chg="add del">
          <pc:chgData name="Cornejo, Jesus" userId="d4e69922-86c5-4092-b876-a67d6d89bb9b" providerId="ADAL" clId="{014D1F7F-8F8F-48CC-A92F-92123A43D2BE}" dt="2023-08-09T17:33:44.615" v="454" actId="47"/>
          <pc:sldLayoutMkLst>
            <pc:docMk/>
            <pc:sldMasterMk cId="750113124" sldId="2147483682"/>
            <pc:sldLayoutMk cId="859973690" sldId="2147483705"/>
          </pc:sldLayoutMkLst>
        </pc:sldLayoutChg>
      </pc:sldMasterChg>
    </pc:docChg>
  </pc:docChgLst>
  <pc:docChgLst>
    <pc:chgData name="Cornejo, Jesus" userId="d4e69922-86c5-4092-b876-a67d6d89bb9b" providerId="ADAL" clId="{5BC206C5-B004-481A-9BAD-3DD667FD865E}"/>
    <pc:docChg chg="modSld">
      <pc:chgData name="Cornejo, Jesus" userId="d4e69922-86c5-4092-b876-a67d6d89bb9b" providerId="ADAL" clId="{5BC206C5-B004-481A-9BAD-3DD667FD865E}" dt="2023-08-09T20:02:56.715" v="5" actId="123"/>
      <pc:docMkLst>
        <pc:docMk/>
      </pc:docMkLst>
      <pc:sldChg chg="modSp mod">
        <pc:chgData name="Cornejo, Jesus" userId="d4e69922-86c5-4092-b876-a67d6d89bb9b" providerId="ADAL" clId="{5BC206C5-B004-481A-9BAD-3DD667FD865E}" dt="2023-08-09T20:02:35.315" v="0" actId="123"/>
        <pc:sldMkLst>
          <pc:docMk/>
          <pc:sldMk cId="1013468824" sldId="328"/>
        </pc:sldMkLst>
        <pc:spChg chg="mod">
          <ac:chgData name="Cornejo, Jesus" userId="d4e69922-86c5-4092-b876-a67d6d89bb9b" providerId="ADAL" clId="{5BC206C5-B004-481A-9BAD-3DD667FD865E}" dt="2023-08-09T20:02:35.315" v="0" actId="123"/>
          <ac:spMkLst>
            <pc:docMk/>
            <pc:sldMk cId="1013468824" sldId="328"/>
            <ac:spMk id="2" creationId="{F332B896-23B8-5048-69AA-D5D6E78D7610}"/>
          </ac:spMkLst>
        </pc:spChg>
      </pc:sldChg>
      <pc:sldChg chg="modSp mod">
        <pc:chgData name="Cornejo, Jesus" userId="d4e69922-86c5-4092-b876-a67d6d89bb9b" providerId="ADAL" clId="{5BC206C5-B004-481A-9BAD-3DD667FD865E}" dt="2023-08-09T20:02:41.284" v="1" actId="123"/>
        <pc:sldMkLst>
          <pc:docMk/>
          <pc:sldMk cId="1908329667" sldId="2147471063"/>
        </pc:sldMkLst>
        <pc:spChg chg="mod">
          <ac:chgData name="Cornejo, Jesus" userId="d4e69922-86c5-4092-b876-a67d6d89bb9b" providerId="ADAL" clId="{5BC206C5-B004-481A-9BAD-3DD667FD865E}" dt="2023-08-09T20:02:41.284" v="1" actId="123"/>
          <ac:spMkLst>
            <pc:docMk/>
            <pc:sldMk cId="1908329667" sldId="2147471063"/>
            <ac:spMk id="2" creationId="{F332B896-23B8-5048-69AA-D5D6E78D7610}"/>
          </ac:spMkLst>
        </pc:spChg>
      </pc:sldChg>
      <pc:sldChg chg="modSp mod">
        <pc:chgData name="Cornejo, Jesus" userId="d4e69922-86c5-4092-b876-a67d6d89bb9b" providerId="ADAL" clId="{5BC206C5-B004-481A-9BAD-3DD667FD865E}" dt="2023-08-09T20:02:52.541" v="4" actId="122"/>
        <pc:sldMkLst>
          <pc:docMk/>
          <pc:sldMk cId="3896114171" sldId="2147471064"/>
        </pc:sldMkLst>
        <pc:spChg chg="mod">
          <ac:chgData name="Cornejo, Jesus" userId="d4e69922-86c5-4092-b876-a67d6d89bb9b" providerId="ADAL" clId="{5BC206C5-B004-481A-9BAD-3DD667FD865E}" dt="2023-08-09T20:02:52.541" v="4" actId="122"/>
          <ac:spMkLst>
            <pc:docMk/>
            <pc:sldMk cId="3896114171" sldId="2147471064"/>
            <ac:spMk id="2" creationId="{F332B896-23B8-5048-69AA-D5D6E78D7610}"/>
          </ac:spMkLst>
        </pc:spChg>
      </pc:sldChg>
      <pc:sldChg chg="modSp mod">
        <pc:chgData name="Cornejo, Jesus" userId="d4e69922-86c5-4092-b876-a67d6d89bb9b" providerId="ADAL" clId="{5BC206C5-B004-481A-9BAD-3DD667FD865E}" dt="2023-08-09T20:02:56.715" v="5" actId="123"/>
        <pc:sldMkLst>
          <pc:docMk/>
          <pc:sldMk cId="3727267983" sldId="2147471065"/>
        </pc:sldMkLst>
        <pc:spChg chg="mod">
          <ac:chgData name="Cornejo, Jesus" userId="d4e69922-86c5-4092-b876-a67d6d89bb9b" providerId="ADAL" clId="{5BC206C5-B004-481A-9BAD-3DD667FD865E}" dt="2023-08-09T20:02:56.715" v="5" actId="123"/>
          <ac:spMkLst>
            <pc:docMk/>
            <pc:sldMk cId="3727267983" sldId="2147471065"/>
            <ac:spMk id="2" creationId="{F332B896-23B8-5048-69AA-D5D6E78D7610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CF1177-3537-EC4A-99B6-2BB7C50E04D3}" type="datetimeFigureOut">
              <a:rPr lang="en-US" smtClean="0"/>
              <a:t>8/1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BC0BE-BD63-D74C-8287-87DF57CB37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10138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BBC0BE-BD63-D74C-8287-87DF57CB377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140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8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9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0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9FD47B-E72F-AD4B-9CDC-33942DD7E2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81708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D9FD47B-E72F-AD4B-9CDC-33942DD7E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Group 22">
            <a:extLst>
              <a:ext uri="{FF2B5EF4-FFF2-40B4-BE49-F238E27FC236}">
                <a16:creationId xmlns:a16="http://schemas.microsoft.com/office/drawing/2014/main" id="{C60466E4-0634-4E4E-B45E-F6B6141E3273}"/>
              </a:ext>
            </a:extLst>
          </p:cNvPr>
          <p:cNvGrpSpPr/>
          <p:nvPr/>
        </p:nvGrpSpPr>
        <p:grpSpPr>
          <a:xfrm>
            <a:off x="5045075" y="-1826"/>
            <a:ext cx="4098925" cy="6859826"/>
            <a:chOff x="5045075" y="-1826"/>
            <a:chExt cx="4098925" cy="6859826"/>
          </a:xfrm>
        </p:grpSpPr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78BB0D8A-5646-C14A-8859-7A7E859CF23C}"/>
                </a:ext>
              </a:extLst>
            </p:cNvPr>
            <p:cNvSpPr/>
            <p:nvPr/>
          </p:nvSpPr>
          <p:spPr>
            <a:xfrm>
              <a:off x="5045075" y="-1826"/>
              <a:ext cx="4098290" cy="6859826"/>
            </a:xfrm>
            <a:custGeom>
              <a:avLst/>
              <a:gdLst>
                <a:gd name="connsiteX0" fmla="*/ 4094568 w 4094695"/>
                <a:gd name="connsiteY0" fmla="*/ 0 h 6853808"/>
                <a:gd name="connsiteX1" fmla="*/ 3623250 w 4094695"/>
                <a:gd name="connsiteY1" fmla="*/ 0 h 6853808"/>
                <a:gd name="connsiteX2" fmla="*/ 0 w 4094695"/>
                <a:gd name="connsiteY2" fmla="*/ 6853682 h 6853808"/>
                <a:gd name="connsiteX3" fmla="*/ 98197 w 4094695"/>
                <a:gd name="connsiteY3" fmla="*/ 6853809 h 6853808"/>
                <a:gd name="connsiteX4" fmla="*/ 1363714 w 4094695"/>
                <a:gd name="connsiteY4" fmla="*/ 6853809 h 6853808"/>
                <a:gd name="connsiteX5" fmla="*/ 4094695 w 4094695"/>
                <a:gd name="connsiteY5" fmla="*/ 1685798 h 6853808"/>
                <a:gd name="connsiteX6" fmla="*/ 4094568 w 4094695"/>
                <a:gd name="connsiteY6" fmla="*/ 0 h 68538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094695" h="6853808">
                  <a:moveTo>
                    <a:pt x="4094568" y="0"/>
                  </a:moveTo>
                  <a:lnTo>
                    <a:pt x="3623250" y="0"/>
                  </a:lnTo>
                  <a:lnTo>
                    <a:pt x="0" y="6853682"/>
                  </a:lnTo>
                  <a:lnTo>
                    <a:pt x="98197" y="6853809"/>
                  </a:lnTo>
                  <a:lnTo>
                    <a:pt x="1363714" y="6853809"/>
                  </a:lnTo>
                  <a:lnTo>
                    <a:pt x="4094695" y="1685798"/>
                  </a:lnTo>
                  <a:lnTo>
                    <a:pt x="4094568" y="0"/>
                  </a:lnTo>
                  <a:close/>
                </a:path>
              </a:pathLst>
            </a:custGeom>
            <a:solidFill>
              <a:schemeClr val="bg2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7B57EE-ABB5-3445-8C44-F0371C6D39E0}"/>
                </a:ext>
              </a:extLst>
            </p:cNvPr>
            <p:cNvSpPr/>
            <p:nvPr/>
          </p:nvSpPr>
          <p:spPr>
            <a:xfrm>
              <a:off x="6019776" y="947189"/>
              <a:ext cx="3123589" cy="5910811"/>
            </a:xfrm>
            <a:custGeom>
              <a:avLst/>
              <a:gdLst>
                <a:gd name="connsiteX0" fmla="*/ 3120849 w 3120849"/>
                <a:gd name="connsiteY0" fmla="*/ 0 h 5905626"/>
                <a:gd name="connsiteX1" fmla="*/ 0 w 3120849"/>
                <a:gd name="connsiteY1" fmla="*/ 5905627 h 5905626"/>
                <a:gd name="connsiteX2" fmla="*/ 389868 w 3120849"/>
                <a:gd name="connsiteY2" fmla="*/ 5905627 h 5905626"/>
                <a:gd name="connsiteX3" fmla="*/ 3120849 w 3120849"/>
                <a:gd name="connsiteY3" fmla="*/ 737616 h 5905626"/>
                <a:gd name="connsiteX4" fmla="*/ 3120849 w 3120849"/>
                <a:gd name="connsiteY4" fmla="*/ 0 h 5905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120849" h="5905626">
                  <a:moveTo>
                    <a:pt x="3120849" y="0"/>
                  </a:moveTo>
                  <a:lnTo>
                    <a:pt x="0" y="5905627"/>
                  </a:lnTo>
                  <a:lnTo>
                    <a:pt x="389868" y="5905627"/>
                  </a:lnTo>
                  <a:lnTo>
                    <a:pt x="3120849" y="737616"/>
                  </a:lnTo>
                  <a:lnTo>
                    <a:pt x="3120849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/>
                </a:gs>
                <a:gs pos="73000">
                  <a:schemeClr val="tx2"/>
                </a:gs>
              </a:gsLst>
              <a:lin ang="0" scaled="1"/>
              <a:tileRect/>
            </a:gra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 20">
              <a:extLst>
                <a:ext uri="{FF2B5EF4-FFF2-40B4-BE49-F238E27FC236}">
                  <a16:creationId xmlns:a16="http://schemas.microsoft.com/office/drawing/2014/main" id="{5F1D8695-3FCB-294B-904E-6520A1233C70}"/>
                </a:ext>
              </a:extLst>
            </p:cNvPr>
            <p:cNvSpPr/>
            <p:nvPr/>
          </p:nvSpPr>
          <p:spPr>
            <a:xfrm>
              <a:off x="6408767" y="1679331"/>
              <a:ext cx="2735233" cy="5178669"/>
            </a:xfrm>
            <a:custGeom>
              <a:avLst/>
              <a:gdLst>
                <a:gd name="connsiteX0" fmla="*/ 2731615 w 2731615"/>
                <a:gd name="connsiteY0" fmla="*/ 5171821 h 5171820"/>
                <a:gd name="connsiteX1" fmla="*/ 2730981 w 2731615"/>
                <a:gd name="connsiteY1" fmla="*/ 0 h 5171820"/>
                <a:gd name="connsiteX2" fmla="*/ 2730981 w 2731615"/>
                <a:gd name="connsiteY2" fmla="*/ 0 h 5171820"/>
                <a:gd name="connsiteX3" fmla="*/ 2730981 w 2731615"/>
                <a:gd name="connsiteY3" fmla="*/ 3810 h 5171820"/>
                <a:gd name="connsiteX4" fmla="*/ 0 w 2731615"/>
                <a:gd name="connsiteY4" fmla="*/ 5171821 h 5171820"/>
                <a:gd name="connsiteX5" fmla="*/ 2731615 w 2731615"/>
                <a:gd name="connsiteY5" fmla="*/ 5171821 h 517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31615" h="5171820">
                  <a:moveTo>
                    <a:pt x="2731615" y="5171821"/>
                  </a:moveTo>
                  <a:lnTo>
                    <a:pt x="2730981" y="0"/>
                  </a:lnTo>
                  <a:lnTo>
                    <a:pt x="2730981" y="0"/>
                  </a:lnTo>
                  <a:lnTo>
                    <a:pt x="2730981" y="3810"/>
                  </a:lnTo>
                  <a:lnTo>
                    <a:pt x="0" y="5171821"/>
                  </a:lnTo>
                  <a:lnTo>
                    <a:pt x="2731615" y="5171821"/>
                  </a:lnTo>
                  <a:close/>
                </a:path>
              </a:pathLst>
            </a:custGeom>
            <a:solidFill>
              <a:schemeClr val="tx2"/>
            </a:soli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A1D97C73-5661-D445-BE89-D5163DB91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1950" y="1144588"/>
            <a:ext cx="6499226" cy="1636776"/>
          </a:xfrm>
          <a:prstGeom prst="rect">
            <a:avLst/>
          </a:prstGeom>
        </p:spPr>
        <p:txBody>
          <a:bodyPr vert="horz" rIns="0" anchor="b" anchorCtr="0">
            <a:noAutofit/>
          </a:bodyPr>
          <a:lstStyle>
            <a:lvl1pPr>
              <a:lnSpc>
                <a:spcPct val="100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0553CE8-3D59-DE47-9987-E948068F08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1949" y="3090672"/>
            <a:ext cx="4800601" cy="2003668"/>
          </a:xfrm>
        </p:spPr>
        <p:txBody>
          <a:bodyPr numCol="1">
            <a:noAutofit/>
          </a:bodyPr>
          <a:lstStyle>
            <a:lvl1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2600" b="1" cap="none" baseline="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1D70D93-F45D-964B-AD22-3E764CA877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1950" y="5754052"/>
            <a:ext cx="2657476" cy="369888"/>
          </a:xfrm>
        </p:spPr>
        <p:txBody>
          <a:bodyPr anchor="b">
            <a:noAutofit/>
          </a:bodyPr>
          <a:lstStyle>
            <a:lvl1pPr marL="0" indent="0">
              <a:buFont typeface="Wingdings" pitchFamily="2" charset="2"/>
              <a:buNone/>
              <a:defRPr sz="1800" b="1">
                <a:solidFill>
                  <a:schemeClr val="bg2"/>
                </a:solidFill>
              </a:defRPr>
            </a:lvl1pPr>
            <a:lvl2pPr marL="228583" indent="0">
              <a:buNone/>
              <a:defRPr>
                <a:solidFill>
                  <a:schemeClr val="bg1"/>
                </a:solidFill>
              </a:defRPr>
            </a:lvl2pPr>
            <a:lvl3pPr marL="457166" indent="0">
              <a:buNone/>
              <a:defRPr>
                <a:solidFill>
                  <a:schemeClr val="bg1"/>
                </a:solidFill>
              </a:defRPr>
            </a:lvl3pPr>
            <a:lvl4pPr marL="715963" indent="0">
              <a:buNone/>
              <a:defRPr>
                <a:solidFill>
                  <a:schemeClr val="bg1"/>
                </a:solidFill>
              </a:defRPr>
            </a:lvl4pPr>
            <a:lvl5pPr marL="955675" indent="0"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date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670DABF-9AF0-EF4E-857B-27F72B034F8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83787" y="6277879"/>
            <a:ext cx="1549660" cy="316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74204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A5C05A-5E4C-AB4C-8DF0-EC7C37E449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912027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A5C05A-5E4C-AB4C-8DF0-EC7C37E44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1D97C73-5661-D445-BE89-D5163DB91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4850" y="1506539"/>
            <a:ext cx="4579882" cy="2248736"/>
          </a:xfrm>
          <a:prstGeom prst="rect">
            <a:avLst/>
          </a:prstGeom>
        </p:spPr>
        <p:txBody>
          <a:bodyPr vert="horz" anchor="b" anchorCtr="0">
            <a:normAutofit/>
          </a:bodyPr>
          <a:lstStyle>
            <a:lvl1pPr>
              <a:lnSpc>
                <a:spcPct val="100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DIVIDE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8A4DD2-39ED-4344-BCF5-DE1C375A8E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44850" y="4094922"/>
            <a:ext cx="4579882" cy="1988378"/>
          </a:xfrm>
        </p:spPr>
        <p:txBody>
          <a:bodyPr>
            <a:normAutofit/>
          </a:bodyPr>
          <a:lstStyle>
            <a:lvl1pPr marL="0" indent="0">
              <a:spcAft>
                <a:spcPts val="1200"/>
              </a:spcAft>
              <a:buFont typeface="Wingdings" pitchFamily="2" charset="2"/>
              <a:buNone/>
              <a:defRPr sz="2600" b="1">
                <a:solidFill>
                  <a:schemeClr val="bg2"/>
                </a:solidFill>
              </a:defRPr>
            </a:lvl1pPr>
            <a:lvl2pPr marL="228583" indent="0">
              <a:buNone/>
              <a:defRPr>
                <a:solidFill>
                  <a:schemeClr val="bg1"/>
                </a:solidFill>
              </a:defRPr>
            </a:lvl2pPr>
            <a:lvl3pPr marL="457166" indent="0">
              <a:buNone/>
              <a:defRPr>
                <a:solidFill>
                  <a:schemeClr val="bg1"/>
                </a:solidFill>
              </a:defRPr>
            </a:lvl3pPr>
            <a:lvl4pPr marL="715963" indent="0">
              <a:buNone/>
              <a:defRPr>
                <a:solidFill>
                  <a:schemeClr val="bg1"/>
                </a:solidFill>
              </a:defRPr>
            </a:lvl4pPr>
            <a:lvl5pPr marL="955675" indent="0"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1" name="Freeform 20">
            <a:extLst>
              <a:ext uri="{FF2B5EF4-FFF2-40B4-BE49-F238E27FC236}">
                <a16:creationId xmlns:a16="http://schemas.microsoft.com/office/drawing/2014/main" id="{12FB25DE-FD3B-3C42-8EC5-7D7F39403106}"/>
              </a:ext>
            </a:extLst>
          </p:cNvPr>
          <p:cNvSpPr/>
          <p:nvPr/>
        </p:nvSpPr>
        <p:spPr>
          <a:xfrm>
            <a:off x="0" y="382"/>
            <a:ext cx="3994269" cy="6876288"/>
          </a:xfrm>
          <a:custGeom>
            <a:avLst/>
            <a:gdLst>
              <a:gd name="connsiteX0" fmla="*/ 364305 w 3994269"/>
              <a:gd name="connsiteY0" fmla="*/ 6876289 h 6876288"/>
              <a:gd name="connsiteX1" fmla="*/ 0 w 3994269"/>
              <a:gd name="connsiteY1" fmla="*/ 6876289 h 6876288"/>
              <a:gd name="connsiteX2" fmla="*/ 0 w 3994269"/>
              <a:gd name="connsiteY2" fmla="*/ 0 h 6876288"/>
              <a:gd name="connsiteX3" fmla="*/ 3994269 w 3994269"/>
              <a:gd name="connsiteY3" fmla="*/ 0 h 6876288"/>
              <a:gd name="connsiteX4" fmla="*/ 364305 w 3994269"/>
              <a:gd name="connsiteY4" fmla="*/ 6876289 h 6876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94269" h="6876288">
                <a:moveTo>
                  <a:pt x="364305" y="6876289"/>
                </a:moveTo>
                <a:lnTo>
                  <a:pt x="0" y="6876289"/>
                </a:lnTo>
                <a:lnTo>
                  <a:pt x="0" y="0"/>
                </a:lnTo>
                <a:lnTo>
                  <a:pt x="3994269" y="0"/>
                </a:lnTo>
                <a:lnTo>
                  <a:pt x="364305" y="6876289"/>
                </a:lnTo>
                <a:close/>
              </a:path>
            </a:pathLst>
          </a:custGeom>
          <a:solidFill>
            <a:schemeClr val="bg2"/>
          </a:solidFill>
          <a:ln w="126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4C163336-5350-5344-ACF5-1D22EE37D361}"/>
              </a:ext>
            </a:extLst>
          </p:cNvPr>
          <p:cNvSpPr/>
          <p:nvPr/>
        </p:nvSpPr>
        <p:spPr>
          <a:xfrm>
            <a:off x="0" y="0"/>
            <a:ext cx="3995667" cy="6876670"/>
          </a:xfrm>
          <a:custGeom>
            <a:avLst/>
            <a:gdLst>
              <a:gd name="connsiteX0" fmla="*/ 365957 w 3995667"/>
              <a:gd name="connsiteY0" fmla="*/ 6876288 h 6876670"/>
              <a:gd name="connsiteX1" fmla="*/ 0 w 3995667"/>
              <a:gd name="connsiteY1" fmla="*/ 6876671 h 6876670"/>
              <a:gd name="connsiteX2" fmla="*/ 0 w 3995667"/>
              <a:gd name="connsiteY2" fmla="*/ 6695722 h 6876670"/>
              <a:gd name="connsiteX3" fmla="*/ 3534409 w 3995667"/>
              <a:gd name="connsiteY3" fmla="*/ 0 h 6876670"/>
              <a:gd name="connsiteX4" fmla="*/ 3995667 w 3995667"/>
              <a:gd name="connsiteY4" fmla="*/ 0 h 6876670"/>
              <a:gd name="connsiteX5" fmla="*/ 365957 w 3995667"/>
              <a:gd name="connsiteY5" fmla="*/ 6876288 h 6876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667" h="6876670">
                <a:moveTo>
                  <a:pt x="365957" y="6876288"/>
                </a:moveTo>
                <a:lnTo>
                  <a:pt x="0" y="6876671"/>
                </a:lnTo>
                <a:lnTo>
                  <a:pt x="0" y="6695722"/>
                </a:lnTo>
                <a:lnTo>
                  <a:pt x="3534409" y="0"/>
                </a:lnTo>
                <a:lnTo>
                  <a:pt x="3995667" y="0"/>
                </a:lnTo>
                <a:lnTo>
                  <a:pt x="365957" y="6876288"/>
                </a:lnTo>
                <a:close/>
              </a:path>
            </a:pathLst>
          </a:custGeom>
          <a:gradFill>
            <a:gsLst>
              <a:gs pos="32000">
                <a:schemeClr val="tx2"/>
              </a:gs>
              <a:gs pos="100000">
                <a:schemeClr val="bg2"/>
              </a:gs>
            </a:gsLst>
            <a:lin ang="0" scaled="1"/>
          </a:gradFill>
          <a:ln w="126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280795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1437E-F5BA-D941-A988-D166FC8336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4765629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FE1437E-F5BA-D941-A988-D166FC8336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4CCDAC1-FF0C-6C45-9EFE-16B81E076C06}"/>
              </a:ext>
            </a:extLst>
          </p:cNvPr>
          <p:cNvSpPr txBox="1"/>
          <p:nvPr/>
        </p:nvSpPr>
        <p:spPr>
          <a:xfrm>
            <a:off x="8282970" y="2490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4F861AD-B738-204D-962D-1D7949B97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1947" y="548641"/>
            <a:ext cx="2479786" cy="903641"/>
          </a:xfrm>
          <a:prstGeom prst="rect">
            <a:avLst/>
          </a:prstGeom>
        </p:spPr>
        <p:txBody>
          <a:bodyPr vert="horz" rIns="0" anchor="t"/>
          <a:lstStyle>
            <a:lvl1pPr>
              <a:defRPr/>
            </a:lvl1pPr>
          </a:lstStyle>
          <a:p>
            <a:r>
              <a:rPr lang="en-US" dirty="0"/>
              <a:t>Table of content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2AA18E7-3E59-E04F-9A43-A926ED4D6E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54480" y="1737360"/>
            <a:ext cx="7171764" cy="4491322"/>
          </a:xfrm>
        </p:spPr>
        <p:txBody>
          <a:bodyPr tIns="36576"/>
          <a:lstStyle>
            <a:lvl1pPr marL="287338" indent="-285750">
              <a:spcBef>
                <a:spcPts val="2400"/>
              </a:spcBef>
              <a:buClr>
                <a:schemeClr val="accent3"/>
              </a:buClr>
              <a:buSzPct val="100000"/>
              <a:buFont typeface="Arial" panose="020B0604020202020204" pitchFamily="34" charset="0"/>
              <a:buChar char="•"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ategory 1</a:t>
            </a:r>
          </a:p>
          <a:p>
            <a:pPr lvl="0"/>
            <a:r>
              <a:rPr lang="en-US" dirty="0"/>
              <a:t>Category 2</a:t>
            </a:r>
          </a:p>
          <a:p>
            <a:pPr lvl="0"/>
            <a:r>
              <a:rPr lang="en-US" dirty="0"/>
              <a:t>Category 3</a:t>
            </a:r>
          </a:p>
          <a:p>
            <a:pPr lvl="0"/>
            <a:r>
              <a:rPr lang="en-US" dirty="0"/>
              <a:t>Category 4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8856028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no blue sentenc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377EB1-1285-6648-90ED-1B84FD1BD2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90821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377EB1-1285-6648-90ED-1B84FD1BD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6">
            <a:extLst>
              <a:ext uri="{FF2B5EF4-FFF2-40B4-BE49-F238E27FC236}">
                <a16:creationId xmlns:a16="http://schemas.microsoft.com/office/drawing/2014/main" id="{6E9E4A80-3BA3-124D-9B24-F7CF47D2D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48" y="457200"/>
            <a:ext cx="8412480" cy="53655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9D7253-F336-40C3-B8DB-BC4E7A515F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3062" y="1100531"/>
            <a:ext cx="8408988" cy="4617720"/>
          </a:xfrm>
        </p:spPr>
        <p:txBody>
          <a:bodyPr/>
          <a:lstStyle>
            <a:lvl1pPr>
              <a:spcAft>
                <a:spcPts val="12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1200"/>
              </a:spcAft>
              <a:defRPr sz="1400"/>
            </a:lvl2pPr>
            <a:lvl3pPr>
              <a:spcAft>
                <a:spcPts val="1200"/>
              </a:spcAft>
              <a:defRPr sz="14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73E8450-28A8-A6F0-3571-A948467527A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61949" y="6083302"/>
            <a:ext cx="7315200" cy="433570"/>
          </a:xfrm>
        </p:spPr>
        <p:txBody>
          <a:bodyPr anchor="b">
            <a:noAutofit/>
          </a:bodyPr>
          <a:lstStyle>
            <a:lvl1pPr marL="234950" indent="-234950"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 sz="9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footnote; Footnotes should not have a period at the end, or in the middle of the footnote; To break up a footnote sentence use a semi-colon</a:t>
            </a:r>
          </a:p>
        </p:txBody>
      </p:sp>
    </p:spTree>
    <p:extLst>
      <p:ext uri="{BB962C8B-B14F-4D97-AF65-F5344CB8AC3E}">
        <p14:creationId xmlns:p14="http://schemas.microsoft.com/office/powerpoint/2010/main" val="153351107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text or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2FBDF-60EE-4F38-9C0E-EFBFE5163E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15320F-233F-4CC6-A659-B7FE345F71A2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65125" y="1099645"/>
            <a:ext cx="8416925" cy="4803775"/>
          </a:xfrm>
        </p:spPr>
        <p:txBody>
          <a:bodyPr/>
          <a:lstStyle>
            <a:lvl1pPr>
              <a:spcAft>
                <a:spcPts val="12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1200"/>
              </a:spcAft>
              <a:defRPr sz="1400"/>
            </a:lvl2pPr>
            <a:lvl3pPr>
              <a:spcAft>
                <a:spcPts val="1200"/>
              </a:spcAft>
              <a:defRPr sz="14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38657E99-CA71-137D-BE32-DFB3CA17589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61949" y="6083302"/>
            <a:ext cx="7372976" cy="433570"/>
          </a:xfrm>
        </p:spPr>
        <p:txBody>
          <a:bodyPr anchor="b">
            <a:noAutofit/>
          </a:bodyPr>
          <a:lstStyle>
            <a:lvl1pPr marL="234950" indent="-234950"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 sz="9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footnote; Footnotes should not have a period at the end, or in the middle of the footnote; To break up a footnote sentence use a semi-colon</a:t>
            </a:r>
          </a:p>
        </p:txBody>
      </p:sp>
    </p:spTree>
    <p:extLst>
      <p:ext uri="{BB962C8B-B14F-4D97-AF65-F5344CB8AC3E}">
        <p14:creationId xmlns:p14="http://schemas.microsoft.com/office/powerpoint/2010/main" val="233783323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table_fu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91297C-47CA-8B4D-B06A-2DE4B0146D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832022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91297C-47CA-8B4D-B06A-2DE4B0146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6">
            <a:extLst>
              <a:ext uri="{FF2B5EF4-FFF2-40B4-BE49-F238E27FC236}">
                <a16:creationId xmlns:a16="http://schemas.microsoft.com/office/drawing/2014/main" id="{DEE1D3EF-21D3-8E4C-8052-572CFF7B04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48" y="457200"/>
            <a:ext cx="8412480" cy="53655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8CCF4543-F20D-4289-B731-65995A92BBB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61951" y="1279525"/>
            <a:ext cx="8420100" cy="4798700"/>
          </a:xfrm>
          <a:solidFill>
            <a:schemeClr val="bg1">
              <a:lumMod val="95000"/>
            </a:schemeClr>
          </a:solidFill>
        </p:spPr>
        <p:txBody>
          <a:bodyPr tIns="2103120">
            <a:normAutofit/>
          </a:bodyPr>
          <a:lstStyle>
            <a:lvl1pPr marL="0" indent="0" algn="ctr">
              <a:buFontTx/>
              <a:buNone/>
              <a:defRPr sz="1400">
                <a:solidFill>
                  <a:srgbClr val="FF0000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7ACC8123-BA22-9643-D59F-B3F9D20672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61949" y="6083302"/>
            <a:ext cx="7372976" cy="433570"/>
          </a:xfrm>
        </p:spPr>
        <p:txBody>
          <a:bodyPr anchor="b">
            <a:noAutofit/>
          </a:bodyPr>
          <a:lstStyle>
            <a:lvl1pPr marL="234950" indent="-234950"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 sz="9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footnote; Footnotes should not have a period at the end, or in the middle of the footnote; To break up a footnote sentence use a semi-colon</a:t>
            </a:r>
          </a:p>
        </p:txBody>
      </p:sp>
    </p:spTree>
    <p:extLst>
      <p:ext uri="{BB962C8B-B14F-4D97-AF65-F5344CB8AC3E}">
        <p14:creationId xmlns:p14="http://schemas.microsoft.com/office/powerpoint/2010/main" val="164581433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col_char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C56AD6-A785-F842-AF16-A21371D70C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81881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C56AD6-A785-F842-AF16-A21371D70C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5DA323-46E6-1E42-AC5C-E9BB1B51EF0F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61949" y="1279524"/>
            <a:ext cx="4095751" cy="4803775"/>
          </a:xfrm>
        </p:spPr>
        <p:txBody>
          <a:bodyPr/>
          <a:lstStyle>
            <a:lvl1pPr algn="ctr">
              <a:spcAft>
                <a:spcPts val="1200"/>
              </a:spcAft>
              <a:defRPr sz="1400" b="1">
                <a:solidFill>
                  <a:schemeClr val="accent1"/>
                </a:solidFill>
              </a:defRPr>
            </a:lvl1pPr>
            <a:lvl2pPr>
              <a:spcAft>
                <a:spcPts val="1200"/>
              </a:spcAft>
              <a:defRPr sz="1400" b="0">
                <a:solidFill>
                  <a:schemeClr val="tx1"/>
                </a:solidFill>
              </a:defRPr>
            </a:lvl2pPr>
            <a:lvl3pPr>
              <a:spcAft>
                <a:spcPts val="1200"/>
              </a:spcAft>
              <a:defRPr sz="1400" b="0">
                <a:solidFill>
                  <a:schemeClr val="tx1"/>
                </a:solidFill>
              </a:defRPr>
            </a:lvl3pPr>
            <a:lvl4pPr marL="690563" indent="-227013">
              <a:spcAft>
                <a:spcPts val="1200"/>
              </a:spcAft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</a:defRPr>
            </a:lvl4pPr>
            <a:lvl5pPr>
              <a:spcAft>
                <a:spcPts val="1200"/>
              </a:spcAft>
              <a:defRPr sz="1400" b="0">
                <a:solidFill>
                  <a:schemeClr val="tx1"/>
                </a:solidFill>
                <a:latin typeface="+mn-lt"/>
              </a:defRPr>
            </a:lvl5pPr>
          </a:lstStyle>
          <a:p>
            <a:r>
              <a:rPr lang="en-US" dirty="0"/>
              <a:t>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45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  <a:p>
            <a:pPr lvl="3"/>
            <a:r>
              <a:rPr lang="en-US" dirty="0"/>
              <a:t>28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endParaRPr lang="en-US" dirty="0"/>
          </a:p>
          <a:p>
            <a:pPr lvl="4"/>
            <a:r>
              <a:rPr lang="en-US" dirty="0"/>
              <a:t>1,998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 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30F6BA5-EA57-E946-AD46-4D9177341089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696557" y="1279524"/>
            <a:ext cx="4095751" cy="4803775"/>
          </a:xfrm>
        </p:spPr>
        <p:txBody>
          <a:bodyPr/>
          <a:lstStyle>
            <a:lvl1pPr algn="ctr">
              <a:spcAft>
                <a:spcPts val="1200"/>
              </a:spcAft>
              <a:defRPr sz="1400" b="1">
                <a:solidFill>
                  <a:schemeClr val="accent1"/>
                </a:solidFill>
              </a:defRPr>
            </a:lvl1pPr>
            <a:lvl2pPr>
              <a:spcAft>
                <a:spcPts val="1200"/>
              </a:spcAft>
              <a:defRPr sz="1400" b="0">
                <a:solidFill>
                  <a:schemeClr val="tx1"/>
                </a:solidFill>
              </a:defRPr>
            </a:lvl2pPr>
            <a:lvl3pPr>
              <a:spcAft>
                <a:spcPts val="1200"/>
              </a:spcAft>
              <a:defRPr sz="1400" b="0">
                <a:solidFill>
                  <a:schemeClr val="tx1"/>
                </a:solidFill>
              </a:defRPr>
            </a:lvl3pPr>
            <a:lvl4pPr marL="690563" indent="-227013">
              <a:spcAft>
                <a:spcPts val="1200"/>
              </a:spcAft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</a:defRPr>
            </a:lvl4pPr>
            <a:lvl5pPr>
              <a:spcAft>
                <a:spcPts val="1200"/>
              </a:spcAft>
              <a:defRPr sz="1400" b="0">
                <a:solidFill>
                  <a:schemeClr val="tx1"/>
                </a:solidFill>
                <a:latin typeface="+mn-lt"/>
              </a:defRPr>
            </a:lvl5pPr>
          </a:lstStyle>
          <a:p>
            <a:r>
              <a:rPr lang="en-US" dirty="0"/>
              <a:t>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45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  <a:p>
            <a:pPr lvl="3"/>
            <a:r>
              <a:rPr lang="en-US" dirty="0"/>
              <a:t>28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endParaRPr lang="en-US" dirty="0"/>
          </a:p>
          <a:p>
            <a:pPr lvl="4"/>
            <a:r>
              <a:rPr lang="en-US" dirty="0"/>
              <a:t>1,998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 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34183A4-9BC9-B440-A466-7460086A984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61949" y="6083302"/>
            <a:ext cx="7315200" cy="433570"/>
          </a:xfrm>
        </p:spPr>
        <p:txBody>
          <a:bodyPr anchor="b">
            <a:noAutofit/>
          </a:bodyPr>
          <a:lstStyle>
            <a:lvl1pPr marL="234950" indent="-234950"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 sz="9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footnote; Footnotes should not have a period at the end, or in the middle of the footnote; To break up a footnote sentence use a semi-colon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ECB21B4-6598-7445-9D7D-D948E4EB2D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48" y="457200"/>
            <a:ext cx="8412480" cy="53655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45318731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kicker add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377EB1-1285-6648-90ED-1B84FD1BD2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40210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377EB1-1285-6648-90ED-1B84FD1BD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A0E647-19F7-834D-A0E9-4153DC14A0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1950" y="1279525"/>
            <a:ext cx="8412478" cy="4108021"/>
          </a:xfrm>
        </p:spPr>
        <p:txBody>
          <a:bodyPr/>
          <a:lstStyle>
            <a:lvl1pPr>
              <a:spcAft>
                <a:spcPts val="1200"/>
              </a:spcAft>
              <a:defRPr b="1">
                <a:solidFill>
                  <a:schemeClr val="tx1"/>
                </a:solidFill>
              </a:defRPr>
            </a:lvl1pPr>
            <a:lvl2pPr>
              <a:spcAft>
                <a:spcPts val="12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1200"/>
              </a:spcAft>
              <a:defRPr sz="1400">
                <a:solidFill>
                  <a:schemeClr val="tx1"/>
                </a:solidFill>
              </a:defRPr>
            </a:lvl3pPr>
            <a:lvl4pPr marL="690563" indent="-227013">
              <a:spcAft>
                <a:spcPts val="1200"/>
              </a:spcAft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</a:defRPr>
            </a:lvl4pPr>
            <a:lvl5pPr>
              <a:spcAft>
                <a:spcPts val="1200"/>
              </a:spcAft>
              <a:defRPr sz="1400">
                <a:solidFill>
                  <a:schemeClr val="tx1"/>
                </a:solidFill>
                <a:latin typeface="+mn-lt"/>
              </a:defRPr>
            </a:lvl5pPr>
          </a:lstStyle>
          <a:p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endParaRPr lang="en-US" dirty="0"/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45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  <a:p>
            <a:pPr lvl="3"/>
            <a:r>
              <a:rPr lang="en-US" dirty="0"/>
              <a:t>28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endParaRPr lang="en-US" dirty="0"/>
          </a:p>
          <a:p>
            <a:pPr lvl="4"/>
            <a:r>
              <a:rPr lang="en-US" dirty="0"/>
              <a:t>1,998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75F700-6504-F944-AD68-B683E4A775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50" y="5486400"/>
            <a:ext cx="8412163" cy="433570"/>
          </a:xfrm>
        </p:spPr>
        <p:txBody>
          <a:bodyPr/>
          <a:lstStyle>
            <a:lvl1pPr algn="ctr">
              <a:defRPr sz="1400" b="1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1600" b="1" dirty="0">
                <a:solidFill>
                  <a:schemeClr val="accent2"/>
                </a:solidFill>
                <a:cs typeface="Calibri Light" panose="020F0302020204030204" pitchFamily="34" charset="0"/>
              </a:rPr>
              <a:t>Example Kicker Text That Can Extend to Two Lines If Need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537FD7-BF03-BF4C-8CC9-98D7A02062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64E2B34-8BA2-6DEC-37DF-AD2AAC8AC02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61949" y="6083302"/>
            <a:ext cx="7315200" cy="433570"/>
          </a:xfrm>
        </p:spPr>
        <p:txBody>
          <a:bodyPr anchor="b">
            <a:noAutofit/>
          </a:bodyPr>
          <a:lstStyle>
            <a:lvl1pPr marL="234950" indent="-234950"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 sz="9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footnote; Footnotes should not have a period at the end, or in the middle of the footnote; To break up a footnote sentence use a semi-colon</a:t>
            </a:r>
          </a:p>
        </p:txBody>
      </p:sp>
    </p:spTree>
    <p:extLst>
      <p:ext uri="{BB962C8B-B14F-4D97-AF65-F5344CB8AC3E}">
        <p14:creationId xmlns:p14="http://schemas.microsoft.com/office/powerpoint/2010/main" val="3246426138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2col_3_vert_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1E8F07-1397-E84F-96B8-1F0F671594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691118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1E8F07-1397-E84F-96B8-1F0F67159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4F112554-4362-224B-B75E-C517E2D83B2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61948" y="1506538"/>
            <a:ext cx="1970167" cy="4138888"/>
          </a:xfr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CD1FFB24-C279-7140-86E7-BB93CCB344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420075" y="1506538"/>
            <a:ext cx="2037625" cy="2011914"/>
          </a:xfr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826C3B5-9557-EB45-A8B2-2882FD38FB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420075" y="3633512"/>
            <a:ext cx="2037625" cy="2011914"/>
          </a:xfr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CD29A4D9-1B90-674F-84F2-ED4285F692E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61949" y="6083302"/>
            <a:ext cx="7315200" cy="433570"/>
          </a:xfrm>
        </p:spPr>
        <p:txBody>
          <a:bodyPr anchor="b">
            <a:noAutofit/>
          </a:bodyPr>
          <a:lstStyle>
            <a:lvl1pPr marL="234950" indent="-234950"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 sz="9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footnote; Footnotes should not have a period at the end, or in the middle of the footnote; To break up a footnote sentence use a semi-colon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F5AEAAEA-BFFB-ED47-8A98-AAB442C6464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93158" y="1506538"/>
            <a:ext cx="4081270" cy="4138888"/>
          </a:xfrm>
        </p:spPr>
        <p:txBody>
          <a:bodyPr/>
          <a:lstStyle>
            <a:lvl1pPr algn="ctr">
              <a:spcAft>
                <a:spcPts val="1200"/>
              </a:spcAft>
              <a:defRPr sz="1400" b="1">
                <a:solidFill>
                  <a:schemeClr val="accent1"/>
                </a:solidFill>
              </a:defRPr>
            </a:lvl1pPr>
            <a:lvl2pPr>
              <a:spcAft>
                <a:spcPts val="1200"/>
              </a:spcAft>
              <a:defRPr sz="1400" b="0">
                <a:solidFill>
                  <a:schemeClr val="tx1"/>
                </a:solidFill>
              </a:defRPr>
            </a:lvl2pPr>
            <a:lvl3pPr>
              <a:spcAft>
                <a:spcPts val="1200"/>
              </a:spcAft>
              <a:defRPr sz="1400" b="0">
                <a:solidFill>
                  <a:schemeClr val="tx1"/>
                </a:solidFill>
              </a:defRPr>
            </a:lvl3pPr>
            <a:lvl4pPr marL="690563" indent="-227013">
              <a:spcAft>
                <a:spcPts val="1200"/>
              </a:spcAft>
              <a:buFont typeface="Wingdings" panose="05000000000000000000" pitchFamily="2" charset="2"/>
              <a:buChar char="§"/>
              <a:defRPr sz="1400" b="0">
                <a:solidFill>
                  <a:schemeClr val="tx1"/>
                </a:solidFill>
              </a:defRPr>
            </a:lvl4pPr>
            <a:lvl5pPr>
              <a:spcAft>
                <a:spcPts val="1200"/>
              </a:spcAft>
              <a:defRPr sz="1400" b="0">
                <a:solidFill>
                  <a:schemeClr val="tx1"/>
                </a:solidFill>
                <a:latin typeface="+mn-lt"/>
              </a:defRPr>
            </a:lvl5pPr>
          </a:lstStyle>
          <a:p>
            <a:r>
              <a:rPr lang="en-US" dirty="0"/>
              <a:t>TITLE</a:t>
            </a:r>
          </a:p>
          <a:p>
            <a:pPr lvl="1"/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45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endParaRPr lang="en-US" dirty="0"/>
          </a:p>
          <a:p>
            <a:pPr lvl="3"/>
            <a:r>
              <a:rPr lang="en-US" dirty="0"/>
              <a:t>28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endParaRPr lang="en-US" dirty="0"/>
          </a:p>
          <a:p>
            <a:pPr lvl="4"/>
            <a:r>
              <a:rPr lang="en-US" dirty="0"/>
              <a:t>1,998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 </a:t>
            </a:r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64334B86-5A36-974B-921E-E30A25095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48" y="457200"/>
            <a:ext cx="8412480" cy="53655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884601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ght Triangle 7">
            <a:extLst>
              <a:ext uri="{FF2B5EF4-FFF2-40B4-BE49-F238E27FC236}">
                <a16:creationId xmlns:a16="http://schemas.microsoft.com/office/drawing/2014/main" id="{95FFDB78-D751-1D41-BF27-069C6F13F357}"/>
              </a:ext>
            </a:extLst>
          </p:cNvPr>
          <p:cNvSpPr/>
          <p:nvPr userDrawn="1"/>
        </p:nvSpPr>
        <p:spPr bwMode="auto">
          <a:xfrm rot="5400000">
            <a:off x="-419100" y="419100"/>
            <a:ext cx="1783080" cy="944880"/>
          </a:xfrm>
          <a:prstGeom prst="rtTriangle">
            <a:avLst/>
          </a:prstGeom>
          <a:gradFill>
            <a:gsLst>
              <a:gs pos="0">
                <a:srgbClr val="FAFDFD"/>
              </a:gs>
              <a:gs pos="90000">
                <a:srgbClr val="E4F1FA"/>
              </a:gs>
            </a:gsLst>
            <a:lin ang="5400000" scaled="1"/>
          </a:gradFill>
          <a:ln>
            <a:noFill/>
          </a:ln>
        </p:spPr>
        <p:txBody>
          <a:bodyPr wrap="none" lIns="82058" tIns="41029" rIns="82058" bIns="41029" rtlCol="0" anchor="ctr"/>
          <a:lstStyle/>
          <a:p>
            <a:pPr algn="ctr" defTabSz="914382"/>
            <a:endParaRPr lang="en-US" sz="14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8049AC0-7554-9E4A-B393-600D29FC20DC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16459824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7772400" imgH="10058400" progId="TCLayout.ActiveDocument.1">
                  <p:embed/>
                </p:oleObj>
              </mc:Choice>
              <mc:Fallback>
                <p:oleObj name="think-cell Slide" r:id="rId12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8049AC0-7554-9E4A-B393-600D29FC2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950" y="1280160"/>
            <a:ext cx="8412478" cy="480314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1</a:t>
            </a:r>
          </a:p>
          <a:p>
            <a:pPr lvl="1"/>
            <a:r>
              <a:rPr lang="en-US" dirty="0"/>
              <a:t>2</a:t>
            </a:r>
          </a:p>
          <a:p>
            <a:pPr lvl="2"/>
            <a:r>
              <a:rPr lang="en-US" dirty="0"/>
              <a:t>3</a:t>
            </a:r>
          </a:p>
          <a:p>
            <a:pPr lvl="3"/>
            <a:r>
              <a:rPr lang="en-US" dirty="0"/>
              <a:t>4</a:t>
            </a:r>
          </a:p>
          <a:p>
            <a:pPr lvl="4"/>
            <a:r>
              <a:rPr lang="en-US" dirty="0"/>
              <a:t>5</a:t>
            </a:r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93A2EAE6-BC06-5940-ADB7-0663E113CD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457200"/>
            <a:ext cx="7640956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044D4A2-95D9-8C44-926F-111FF0B1F399}"/>
              </a:ext>
            </a:extLst>
          </p:cNvPr>
          <p:cNvSpPr txBox="1"/>
          <p:nvPr/>
        </p:nvSpPr>
        <p:spPr>
          <a:xfrm>
            <a:off x="8386395" y="6617517"/>
            <a:ext cx="32573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83CA0CAE-2EF4-E543-8AA5-430881C69B11}" type="slidenum">
              <a:rPr lang="en-US" sz="900" b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‹#›</a:t>
            </a:fld>
            <a:endParaRPr lang="en-US" sz="105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6A0DC99-08CF-F942-BF87-5CD4CBBAFF5A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8017678" y="6434409"/>
            <a:ext cx="954404" cy="236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0113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5" r:id="rId2"/>
    <p:sldLayoutId id="2147483687" r:id="rId3"/>
    <p:sldLayoutId id="2147483703" r:id="rId4"/>
    <p:sldLayoutId id="2147483704" r:id="rId5"/>
    <p:sldLayoutId id="2147483692" r:id="rId6"/>
    <p:sldLayoutId id="2147483691" r:id="rId7"/>
    <p:sldLayoutId id="2147483689" r:id="rId8"/>
    <p:sldLayoutId id="2147483695" r:id="rId9"/>
  </p:sldLayoutIdLst>
  <p:transition/>
  <p:txStyles>
    <p:titleStyle>
      <a:lvl1pPr algn="l" defTabSz="457155" rtl="0" eaLnBrk="1" latinLnBrk="0" hangingPunct="1">
        <a:lnSpc>
          <a:spcPct val="100000"/>
        </a:lnSpc>
        <a:spcBef>
          <a:spcPct val="0"/>
        </a:spcBef>
        <a:buNone/>
        <a:defRPr sz="2800" b="0" i="0" kern="1200" cap="all" baseline="0">
          <a:solidFill>
            <a:schemeClr val="tx2"/>
          </a:solidFill>
          <a:latin typeface="+mj-lt"/>
          <a:ea typeface="+mj-ea"/>
          <a:cs typeface="Calibri Light"/>
        </a:defRPr>
      </a:lvl1pPr>
    </p:titleStyle>
    <p:bodyStyle>
      <a:lvl1pPr marL="1588" indent="0" algn="l" defTabSz="457155" rtl="0" eaLnBrk="1" latinLnBrk="0" hangingPunct="1">
        <a:spcBef>
          <a:spcPts val="0"/>
        </a:spcBef>
        <a:spcAft>
          <a:spcPts val="0"/>
        </a:spcAft>
        <a:buClr>
          <a:schemeClr val="accent2"/>
        </a:buClr>
        <a:buSzPct val="120000"/>
        <a:buFont typeface="Wingdings" pitchFamily="2" charset="2"/>
        <a:buNone/>
        <a:tabLst/>
        <a:defRPr sz="1400" b="1" i="0" kern="1200">
          <a:solidFill>
            <a:srgbClr val="001C71"/>
          </a:solidFill>
          <a:latin typeface="+mn-lt"/>
          <a:ea typeface="+mn-ea"/>
          <a:cs typeface="Calibri Light"/>
        </a:defRPr>
      </a:lvl1pPr>
      <a:lvl2pPr marL="7938" indent="0" algn="l" defTabSz="457155" rtl="0" eaLnBrk="1" latinLnBrk="0" hangingPunct="1">
        <a:spcBef>
          <a:spcPts val="0"/>
        </a:spcBef>
        <a:spcAft>
          <a:spcPts val="0"/>
        </a:spcAft>
        <a:buClr>
          <a:schemeClr val="accent2"/>
        </a:buClr>
        <a:buSzPct val="120000"/>
        <a:buFont typeface="Arial" panose="020B0604020202020204" pitchFamily="34" charset="0"/>
        <a:buNone/>
        <a:tabLst/>
        <a:defRPr sz="1400" b="0" i="0" kern="1200">
          <a:solidFill>
            <a:schemeClr val="tx1"/>
          </a:solidFill>
          <a:latin typeface="+mn-lt"/>
          <a:ea typeface="+mn-ea"/>
          <a:cs typeface="Calibri Light"/>
        </a:defRPr>
      </a:lvl2pPr>
      <a:lvl3pPr marL="349250" indent="-227013" algn="l" defTabSz="457155" rtl="0" eaLnBrk="1" latinLnBrk="0" hangingPunct="1">
        <a:spcBef>
          <a:spcPts val="0"/>
        </a:spcBef>
        <a:spcAft>
          <a:spcPts val="0"/>
        </a:spcAft>
        <a:buClr>
          <a:schemeClr val="bg2"/>
        </a:buClr>
        <a:buSzPct val="100000"/>
        <a:buFont typeface="Arial" panose="020B0604020202020204" pitchFamily="34" charset="0"/>
        <a:buChar char="•"/>
        <a:tabLst/>
        <a:defRPr sz="1400" b="0" i="0" kern="1200">
          <a:solidFill>
            <a:schemeClr val="tx1"/>
          </a:solidFill>
          <a:latin typeface="+mn-lt"/>
          <a:ea typeface="+mn-ea"/>
          <a:cs typeface="Calibri Light"/>
        </a:defRPr>
      </a:lvl3pPr>
      <a:lvl4pPr marL="690563" indent="-227013" algn="l" defTabSz="498429" rtl="0" eaLnBrk="1" latinLnBrk="0" hangingPunct="1">
        <a:spcBef>
          <a:spcPts val="0"/>
        </a:spcBef>
        <a:spcAft>
          <a:spcPts val="0"/>
        </a:spcAft>
        <a:buClr>
          <a:schemeClr val="bg2"/>
        </a:buClr>
        <a:buSzPct val="100000"/>
        <a:buFont typeface="Wingdings" panose="05000000000000000000" pitchFamily="2" charset="2"/>
        <a:buChar char="§"/>
        <a:tabLst/>
        <a:defRPr sz="1400" b="0" i="0" kern="1200">
          <a:solidFill>
            <a:schemeClr val="tx1"/>
          </a:solidFill>
          <a:latin typeface="+mn-lt"/>
          <a:ea typeface="+mn-ea"/>
          <a:cs typeface="Calibri Light"/>
        </a:defRPr>
      </a:lvl4pPr>
      <a:lvl5pPr marL="1033463" indent="-228600" algn="l" defTabSz="457155" rtl="0" eaLnBrk="1" latinLnBrk="0" hangingPunct="1">
        <a:spcBef>
          <a:spcPts val="0"/>
        </a:spcBef>
        <a:spcAft>
          <a:spcPts val="0"/>
        </a:spcAft>
        <a:buClr>
          <a:schemeClr val="bg2"/>
        </a:buClr>
        <a:buSzPct val="100000"/>
        <a:buFont typeface="Arial" panose="020B0604020202020204" pitchFamily="34" charset="0"/>
        <a:buChar char="•"/>
        <a:tabLst/>
        <a:defRPr sz="1400" b="0" i="0" kern="1200">
          <a:solidFill>
            <a:schemeClr val="tx1"/>
          </a:solidFill>
          <a:latin typeface="+mn-lt"/>
          <a:ea typeface="+mn-ea"/>
          <a:cs typeface="Calibri" panose="020F0502020204030204" pitchFamily="34" charset="0"/>
        </a:defRPr>
      </a:lvl5pPr>
      <a:lvl6pPr marL="457172" indent="0" algn="l" defTabSz="457155" rtl="0" eaLnBrk="1" latinLnBrk="0" hangingPunct="1">
        <a:spcBef>
          <a:spcPts val="0"/>
        </a:spcBef>
        <a:buFont typeface="Wingdings" pitchFamily="2" charset="2"/>
        <a:buNone/>
        <a:defRPr sz="1800" b="0" kern="1200">
          <a:solidFill>
            <a:schemeClr val="accent2"/>
          </a:solidFill>
          <a:latin typeface="+mn-lt"/>
          <a:ea typeface="+mn-ea"/>
          <a:cs typeface="+mn-cs"/>
        </a:defRPr>
      </a:lvl6pPr>
      <a:lvl7pPr marL="685750" indent="-228578" algn="l" defTabSz="457155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685750" indent="-228578" algn="l" defTabSz="457155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685750" indent="-228578" algn="l" defTabSz="457155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6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6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1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6">
          <p15:clr>
            <a:srgbClr val="F26B43"/>
          </p15:clr>
        </p15:guide>
        <p15:guide id="2" pos="2880">
          <p15:clr>
            <a:srgbClr val="F26B43"/>
          </p15:clr>
        </p15:guide>
        <p15:guide id="3" pos="228">
          <p15:clr>
            <a:srgbClr val="F26B43"/>
          </p15:clr>
        </p15:guide>
        <p15:guide id="4" pos="692">
          <p15:clr>
            <a:srgbClr val="F26B43"/>
          </p15:clr>
        </p15:guide>
        <p15:guide id="5" pos="836">
          <p15:clr>
            <a:srgbClr val="F26B43"/>
          </p15:clr>
        </p15:guide>
        <p15:guide id="6" pos="1294">
          <p15:clr>
            <a:srgbClr val="F26B43"/>
          </p15:clr>
        </p15:guide>
        <p15:guide id="7" pos="1442">
          <p15:clr>
            <a:srgbClr val="F26B43"/>
          </p15:clr>
        </p15:guide>
        <p15:guide id="8" pos="1902">
          <p15:clr>
            <a:srgbClr val="F26B43"/>
          </p15:clr>
        </p15:guide>
        <p15:guide id="9" pos="2044">
          <p15:clr>
            <a:srgbClr val="F26B43"/>
          </p15:clr>
        </p15:guide>
        <p15:guide id="10" pos="2506">
          <p15:clr>
            <a:srgbClr val="F26B43"/>
          </p15:clr>
        </p15:guide>
        <p15:guide id="11" pos="2648">
          <p15:clr>
            <a:srgbClr val="F26B43"/>
          </p15:clr>
        </p15:guide>
        <p15:guide id="12" pos="2808">
          <p15:clr>
            <a:srgbClr val="F26B43"/>
          </p15:clr>
        </p15:guide>
        <p15:guide id="13" pos="2952">
          <p15:clr>
            <a:srgbClr val="F26B43"/>
          </p15:clr>
        </p15:guide>
        <p15:guide id="14" pos="3110">
          <p15:clr>
            <a:srgbClr val="F26B43"/>
          </p15:clr>
        </p15:guide>
        <p15:guide id="15" pos="3252">
          <p15:clr>
            <a:srgbClr val="F26B43"/>
          </p15:clr>
        </p15:guide>
        <p15:guide id="16" pos="3716">
          <p15:clr>
            <a:srgbClr val="F26B43"/>
          </p15:clr>
        </p15:guide>
        <p15:guide id="17" pos="3860">
          <p15:clr>
            <a:srgbClr val="F26B43"/>
          </p15:clr>
        </p15:guide>
        <p15:guide id="18" pos="4322">
          <p15:clr>
            <a:srgbClr val="F26B43"/>
          </p15:clr>
        </p15:guide>
        <p15:guide id="19" pos="4464">
          <p15:clr>
            <a:srgbClr val="F26B43"/>
          </p15:clr>
        </p15:guide>
        <p15:guide id="20" pos="4926">
          <p15:clr>
            <a:srgbClr val="F26B43"/>
          </p15:clr>
        </p15:guide>
        <p15:guide id="21" pos="5066">
          <p15:clr>
            <a:srgbClr val="F26B43"/>
          </p15:clr>
        </p15:guide>
        <p15:guide id="23" pos="5532">
          <p15:clr>
            <a:srgbClr val="F26B43"/>
          </p15:clr>
        </p15:guide>
        <p15:guide id="24" orient="horz" pos="636">
          <p15:clr>
            <a:srgbClr val="F26B43"/>
          </p15:clr>
        </p15:guide>
        <p15:guide id="26" orient="horz" pos="806">
          <p15:clr>
            <a:srgbClr val="F26B43"/>
          </p15:clr>
        </p15:guide>
        <p15:guide id="28" orient="horz" pos="4234">
          <p15:clr>
            <a:srgbClr val="F26B43"/>
          </p15:clr>
        </p15:guide>
        <p15:guide id="29" orient="horz" pos="3832">
          <p15:clr>
            <a:srgbClr val="F26B43"/>
          </p15:clr>
        </p15:guide>
        <p15:guide id="30" orient="horz" pos="1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svg"/><Relationship Id="rId4" Type="http://schemas.openxmlformats.org/officeDocument/2006/relationships/image" Target="../media/image13.emf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5" Type="http://schemas.openxmlformats.org/officeDocument/2006/relationships/image" Target="../media/image21.gif"/><Relationship Id="rId4" Type="http://schemas.openxmlformats.org/officeDocument/2006/relationships/image" Target="../media/image13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24.sv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1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5" Type="http://schemas.openxmlformats.org/officeDocument/2006/relationships/image" Target="../media/image21.gif"/><Relationship Id="rId4" Type="http://schemas.openxmlformats.org/officeDocument/2006/relationships/image" Target="../media/image1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26.png"/><Relationship Id="rId5" Type="http://schemas.openxmlformats.org/officeDocument/2006/relationships/hyperlink" Target="mailto:seguridad_corporativa@sempraglobal.com.mx" TargetMode="External"/><Relationship Id="rId4" Type="http://schemas.openxmlformats.org/officeDocument/2006/relationships/image" Target="../media/image1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1E2EACE-B7D2-0C42-ADC3-A3E335ADE7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955212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1E2EACE-B7D2-0C42-ADC3-A3E335ADE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6BADCD4F-791D-BC4A-83AC-BC14E2497C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950" y="1144588"/>
            <a:ext cx="6715506" cy="1636776"/>
          </a:xfrm>
        </p:spPr>
        <p:txBody>
          <a:bodyPr/>
          <a:lstStyle/>
          <a:p>
            <a:r>
              <a:rPr lang="en-US" dirty="0"/>
              <a:t>Recomendaciones de Seguridad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75ED69A-B56C-C440-AD4E-7116E01B9BC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1949" y="3090672"/>
            <a:ext cx="5537201" cy="2003668"/>
          </a:xfrm>
        </p:spPr>
        <p:txBody>
          <a:bodyPr/>
          <a:lstStyle/>
          <a:p>
            <a:r>
              <a:rPr lang="en-US" dirty="0"/>
              <a:t>Traslados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carretera</a:t>
            </a:r>
            <a:endParaRPr lang="en-US" dirty="0"/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7B1349F-11C2-4546-AAD1-94EA405E9C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Agosto, 2023</a:t>
            </a:r>
          </a:p>
        </p:txBody>
      </p:sp>
    </p:spTree>
    <p:extLst>
      <p:ext uri="{BB962C8B-B14F-4D97-AF65-F5344CB8AC3E}">
        <p14:creationId xmlns:p14="http://schemas.microsoft.com/office/powerpoint/2010/main" val="291612406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B43005-21D3-9F4D-82B9-73109CDDFC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B43005-21D3-9F4D-82B9-73109CDDF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32B896-23B8-5048-69AA-D5D6E78D76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3062" y="1108026"/>
            <a:ext cx="8408988" cy="4617720"/>
          </a:xfrm>
        </p:spPr>
        <p:txBody>
          <a:bodyPr/>
          <a:lstStyle/>
          <a:p>
            <a:pPr lvl="1" algn="just">
              <a:spcAft>
                <a:spcPts val="1200"/>
              </a:spcAft>
            </a:pPr>
            <a:r>
              <a:rPr lang="es-ES" sz="1400" dirty="0"/>
              <a:t>Dado que el riesgo en las diferentes zonas es cambiante y fluido; Contar con mecanismos de comunicación prácticos, ayudan a mitigar riesgos innecesarios; a su vez la buena comunicación mejora la respuesta ante cualquier incidente en el camino.</a:t>
            </a:r>
          </a:p>
          <a:p>
            <a:pPr algn="just"/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A38E810-2026-7DCD-BDB0-7CA4C1955F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Objetivo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4B2B4CC-9E16-C996-7533-3C1FF148A77B}"/>
              </a:ext>
            </a:extLst>
          </p:cNvPr>
          <p:cNvGrpSpPr/>
          <p:nvPr/>
        </p:nvGrpSpPr>
        <p:grpSpPr>
          <a:xfrm>
            <a:off x="2385119" y="2027039"/>
            <a:ext cx="4373761" cy="4373761"/>
            <a:chOff x="2385119" y="2027039"/>
            <a:chExt cx="4373761" cy="4373761"/>
          </a:xfrm>
        </p:grpSpPr>
        <p:pic>
          <p:nvPicPr>
            <p:cNvPr id="17" name="Imagen 21">
              <a:extLst>
                <a:ext uri="{FF2B5EF4-FFF2-40B4-BE49-F238E27FC236}">
                  <a16:creationId xmlns:a16="http://schemas.microsoft.com/office/drawing/2014/main" id="{B02600B0-86FF-AA04-6C75-24B0DBB379B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85119" y="2027039"/>
              <a:ext cx="4373761" cy="4373761"/>
            </a:xfrm>
            <a:prstGeom prst="rect">
              <a:avLst/>
            </a:prstGeom>
          </p:spPr>
        </p:pic>
        <p:sp>
          <p:nvSpPr>
            <p:cNvPr id="18" name="CuadroTexto 11">
              <a:extLst>
                <a:ext uri="{FF2B5EF4-FFF2-40B4-BE49-F238E27FC236}">
                  <a16:creationId xmlns:a16="http://schemas.microsoft.com/office/drawing/2014/main" id="{2B310871-E06D-49F9-5942-1EDF3F210B79}"/>
                </a:ext>
              </a:extLst>
            </p:cNvPr>
            <p:cNvSpPr txBox="1"/>
            <p:nvPr/>
          </p:nvSpPr>
          <p:spPr>
            <a:xfrm>
              <a:off x="3300600" y="2692923"/>
              <a:ext cx="2518638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s-MX" sz="3600" b="1" dirty="0">
                  <a:solidFill>
                    <a:srgbClr val="23448B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JETIVO</a:t>
              </a:r>
            </a:p>
          </p:txBody>
        </p:sp>
        <p:sp>
          <p:nvSpPr>
            <p:cNvPr id="19" name="Marcador de contenido 5">
              <a:extLst>
                <a:ext uri="{FF2B5EF4-FFF2-40B4-BE49-F238E27FC236}">
                  <a16:creationId xmlns:a16="http://schemas.microsoft.com/office/drawing/2014/main" id="{8512E588-23BE-2DC2-D089-8EA4A3C4B9A4}"/>
                </a:ext>
              </a:extLst>
            </p:cNvPr>
            <p:cNvSpPr txBox="1">
              <a:spLocks/>
            </p:cNvSpPr>
            <p:nvPr/>
          </p:nvSpPr>
          <p:spPr>
            <a:xfrm>
              <a:off x="3187043" y="3683085"/>
              <a:ext cx="2745752" cy="965928"/>
            </a:xfrm>
            <a:prstGeom prst="rect">
              <a:avLst/>
            </a:prstGeom>
          </p:spPr>
          <p:txBody>
            <a:bodyPr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Font typeface="Arial" panose="020B0604020202020204" pitchFamily="34" charset="0"/>
                <a:buNone/>
              </a:pPr>
              <a:r>
                <a:rPr lang="es-MX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slados seguros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1346882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B43005-21D3-9F4D-82B9-73109CDDFC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B43005-21D3-9F4D-82B9-73109CDDF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32B896-23B8-5048-69AA-D5D6E78D76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07762" y="1431560"/>
            <a:ext cx="5288900" cy="5261547"/>
          </a:xfrm>
        </p:spPr>
        <p:txBody>
          <a:bodyPr/>
          <a:lstStyle/>
          <a:p>
            <a:pPr marL="293688" lvl="1" indent="-285750" algn="just">
              <a:buFont typeface="Wingdings" panose="05000000000000000000" pitchFamily="2" charset="2"/>
              <a:buChar char="ü"/>
            </a:pPr>
            <a:r>
              <a:rPr lang="es-ES" dirty="0"/>
              <a:t>Haz un plan de viaje o traslado.</a:t>
            </a:r>
          </a:p>
          <a:p>
            <a:pPr marL="293688" lvl="1" indent="-285750" algn="just">
              <a:buFont typeface="Wingdings" panose="05000000000000000000" pitchFamily="2" charset="2"/>
              <a:buChar char="ü"/>
            </a:pPr>
            <a:r>
              <a:rPr lang="es-ES" dirty="0"/>
              <a:t>Comparte tu plan e itinerario de al Centro de Control o al Líder de SPP de tu región.</a:t>
            </a:r>
          </a:p>
          <a:p>
            <a:pPr marL="293688" lvl="1" indent="-285750" algn="just">
              <a:buFont typeface="Wingdings" panose="05000000000000000000" pitchFamily="2" charset="2"/>
              <a:buChar char="ü"/>
            </a:pPr>
            <a:r>
              <a:rPr lang="es-ES" dirty="0"/>
              <a:t>Informa a tu supervisor de tu traslado y a un familiar.</a:t>
            </a:r>
          </a:p>
          <a:p>
            <a:pPr marL="293688" lvl="1" indent="-285750" algn="just">
              <a:buFont typeface="Wingdings" panose="05000000000000000000" pitchFamily="2" charset="2"/>
              <a:buChar char="ü"/>
            </a:pPr>
            <a:r>
              <a:rPr lang="es-ES" dirty="0"/>
              <a:t>Mantén constante comunicación, comparte tu ubicación y cualquier cambio en tu plan de viaje. </a:t>
            </a:r>
          </a:p>
          <a:p>
            <a:pPr marL="293688" lvl="1" indent="-285750" algn="just">
              <a:buFont typeface="Wingdings" panose="05000000000000000000" pitchFamily="2" charset="2"/>
              <a:buChar char="ü"/>
            </a:pPr>
            <a:r>
              <a:rPr lang="es-ES" dirty="0"/>
              <a:t>Transpórtate en vehículos en cumplimiento con el GE-M02-E12-P02 Procedimiento para la definición de criterios mínimos de seguridad para vehículos.</a:t>
            </a:r>
          </a:p>
          <a:p>
            <a:pPr lvl="1" algn="just">
              <a:spcAft>
                <a:spcPts val="1200"/>
              </a:spcAft>
            </a:pPr>
            <a:endParaRPr lang="es-ES" dirty="0"/>
          </a:p>
          <a:p>
            <a:pPr lvl="1" algn="just">
              <a:spcAft>
                <a:spcPts val="1200"/>
              </a:spcAft>
            </a:pPr>
            <a:r>
              <a:rPr lang="es-ES" b="1" dirty="0"/>
              <a:t>Seguridad Patrimonial y Proteccion puede: </a:t>
            </a:r>
          </a:p>
          <a:p>
            <a:pPr lvl="1" algn="just">
              <a:spcAft>
                <a:spcPts val="1200"/>
              </a:spcAft>
            </a:pPr>
            <a:endParaRPr lang="es-ES" b="1" dirty="0"/>
          </a:p>
          <a:p>
            <a:pPr marL="293688" lvl="1" indent="-285750" algn="just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s-ES" dirty="0"/>
              <a:t>Revisar el plan de viaje y ofrecerte recomendaciones de Seguridad sobre la ruta y destino.</a:t>
            </a:r>
          </a:p>
          <a:p>
            <a:pPr marL="293688" lvl="1" indent="-285750" algn="just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s-ES" dirty="0"/>
              <a:t>Ofrecer un seguimiento hasta que llegada con bien al destino.</a:t>
            </a:r>
          </a:p>
          <a:p>
            <a:pPr lvl="1" algn="just">
              <a:spcAft>
                <a:spcPts val="1200"/>
              </a:spcAft>
            </a:pPr>
            <a:endParaRPr lang="es-ES" sz="1400" dirty="0"/>
          </a:p>
          <a:p>
            <a:pPr algn="just"/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A38E810-2026-7DCD-BDB0-7CA4C1955F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Recomendaciones</a:t>
            </a:r>
            <a:endParaRPr lang="en-US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99D06814-3EBA-457A-5B00-693655FCF0E0}"/>
              </a:ext>
            </a:extLst>
          </p:cNvPr>
          <p:cNvGrpSpPr/>
          <p:nvPr/>
        </p:nvGrpSpPr>
        <p:grpSpPr>
          <a:xfrm>
            <a:off x="-73418" y="1928880"/>
            <a:ext cx="3681180" cy="3000240"/>
            <a:chOff x="-46065" y="1152035"/>
            <a:chExt cx="4224573" cy="3452474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ED0FF926-D4D4-131F-6B8E-B68DCC3E2892}"/>
                </a:ext>
              </a:extLst>
            </p:cNvPr>
            <p:cNvGrpSpPr/>
            <p:nvPr/>
          </p:nvGrpSpPr>
          <p:grpSpPr>
            <a:xfrm>
              <a:off x="-46065" y="1152035"/>
              <a:ext cx="4224573" cy="3452474"/>
              <a:chOff x="-46065" y="1152035"/>
              <a:chExt cx="4224573" cy="3452474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F60B66F8-7D18-F2F1-B31F-26B4ADA0D6C6}"/>
                  </a:ext>
                </a:extLst>
              </p:cNvPr>
              <p:cNvGrpSpPr/>
              <p:nvPr/>
            </p:nvGrpSpPr>
            <p:grpSpPr>
              <a:xfrm>
                <a:off x="-46065" y="1152035"/>
                <a:ext cx="4224573" cy="3452474"/>
                <a:chOff x="-46065" y="775406"/>
                <a:chExt cx="4224573" cy="3452474"/>
              </a:xfrm>
            </p:grpSpPr>
            <p:pic>
              <p:nvPicPr>
                <p:cNvPr id="9" name="Picture 8">
                  <a:extLst>
                    <a:ext uri="{FF2B5EF4-FFF2-40B4-BE49-F238E27FC236}">
                      <a16:creationId xmlns:a16="http://schemas.microsoft.com/office/drawing/2014/main" id="{5AAA533A-AC14-1EF3-AFD1-63A1D14ACD1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t="14585" r="43591" b="36175"/>
                <a:stretch/>
              </p:blipFill>
              <p:spPr>
                <a:xfrm>
                  <a:off x="-46065" y="775406"/>
                  <a:ext cx="3868557" cy="3376869"/>
                </a:xfrm>
                <a:prstGeom prst="rect">
                  <a:avLst/>
                </a:prstGeom>
              </p:spPr>
            </p:pic>
            <p:sp>
              <p:nvSpPr>
                <p:cNvPr id="10" name="Oval 9">
                  <a:extLst>
                    <a:ext uri="{FF2B5EF4-FFF2-40B4-BE49-F238E27FC236}">
                      <a16:creationId xmlns:a16="http://schemas.microsoft.com/office/drawing/2014/main" id="{2923E590-1BDF-9F1E-BF4C-F710A8AE5F78}"/>
                    </a:ext>
                  </a:extLst>
                </p:cNvPr>
                <p:cNvSpPr/>
                <p:nvPr/>
              </p:nvSpPr>
              <p:spPr bwMode="auto">
                <a:xfrm>
                  <a:off x="1913580" y="1513496"/>
                  <a:ext cx="1796486" cy="2455761"/>
                </a:xfrm>
                <a:custGeom>
                  <a:avLst/>
                  <a:gdLst>
                    <a:gd name="connsiteX0" fmla="*/ 0 w 1632829"/>
                    <a:gd name="connsiteY0" fmla="*/ 1148619 h 2297238"/>
                    <a:gd name="connsiteX1" fmla="*/ 816415 w 1632829"/>
                    <a:gd name="connsiteY1" fmla="*/ 0 h 2297238"/>
                    <a:gd name="connsiteX2" fmla="*/ 1632830 w 1632829"/>
                    <a:gd name="connsiteY2" fmla="*/ 1148619 h 2297238"/>
                    <a:gd name="connsiteX3" fmla="*/ 816415 w 1632829"/>
                    <a:gd name="connsiteY3" fmla="*/ 2297238 h 2297238"/>
                    <a:gd name="connsiteX4" fmla="*/ 0 w 1632829"/>
                    <a:gd name="connsiteY4" fmla="*/ 1148619 h 2297238"/>
                    <a:gd name="connsiteX0" fmla="*/ 7357 w 1640187"/>
                    <a:gd name="connsiteY0" fmla="*/ 1148619 h 2432149"/>
                    <a:gd name="connsiteX1" fmla="*/ 823772 w 1640187"/>
                    <a:gd name="connsiteY1" fmla="*/ 0 h 2432149"/>
                    <a:gd name="connsiteX2" fmla="*/ 1640187 w 1640187"/>
                    <a:gd name="connsiteY2" fmla="*/ 1148619 h 2432149"/>
                    <a:gd name="connsiteX3" fmla="*/ 561445 w 1640187"/>
                    <a:gd name="connsiteY3" fmla="*/ 2432149 h 2432149"/>
                    <a:gd name="connsiteX4" fmla="*/ 7357 w 1640187"/>
                    <a:gd name="connsiteY4" fmla="*/ 1148619 h 2432149"/>
                    <a:gd name="connsiteX0" fmla="*/ 4139 w 1726910"/>
                    <a:gd name="connsiteY0" fmla="*/ 1148771 h 2432496"/>
                    <a:gd name="connsiteX1" fmla="*/ 820554 w 1726910"/>
                    <a:gd name="connsiteY1" fmla="*/ 152 h 2432496"/>
                    <a:gd name="connsiteX2" fmla="*/ 1726910 w 1726910"/>
                    <a:gd name="connsiteY2" fmla="*/ 1223721 h 2432496"/>
                    <a:gd name="connsiteX3" fmla="*/ 558227 w 1726910"/>
                    <a:gd name="connsiteY3" fmla="*/ 2432301 h 2432496"/>
                    <a:gd name="connsiteX4" fmla="*/ 4139 w 1726910"/>
                    <a:gd name="connsiteY4" fmla="*/ 1148771 h 2432496"/>
                    <a:gd name="connsiteX0" fmla="*/ 7182 w 1729953"/>
                    <a:gd name="connsiteY0" fmla="*/ 1171254 h 2454979"/>
                    <a:gd name="connsiteX1" fmla="*/ 921033 w 1729953"/>
                    <a:gd name="connsiteY1" fmla="*/ 149 h 2454979"/>
                    <a:gd name="connsiteX2" fmla="*/ 1729953 w 1729953"/>
                    <a:gd name="connsiteY2" fmla="*/ 1246204 h 2454979"/>
                    <a:gd name="connsiteX3" fmla="*/ 561270 w 1729953"/>
                    <a:gd name="connsiteY3" fmla="*/ 2454784 h 2454979"/>
                    <a:gd name="connsiteX4" fmla="*/ 7182 w 1729953"/>
                    <a:gd name="connsiteY4" fmla="*/ 1171254 h 2454979"/>
                    <a:gd name="connsiteX0" fmla="*/ 6259 w 1796486"/>
                    <a:gd name="connsiteY0" fmla="*/ 1111656 h 2455761"/>
                    <a:gd name="connsiteX1" fmla="*/ 987566 w 1796486"/>
                    <a:gd name="connsiteY1" fmla="*/ 511 h 2455761"/>
                    <a:gd name="connsiteX2" fmla="*/ 1796486 w 1796486"/>
                    <a:gd name="connsiteY2" fmla="*/ 1246566 h 2455761"/>
                    <a:gd name="connsiteX3" fmla="*/ 627803 w 1796486"/>
                    <a:gd name="connsiteY3" fmla="*/ 2455146 h 2455761"/>
                    <a:gd name="connsiteX4" fmla="*/ 6259 w 1796486"/>
                    <a:gd name="connsiteY4" fmla="*/ 1111656 h 24557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796486" h="2455761">
                      <a:moveTo>
                        <a:pt x="6259" y="1111656"/>
                      </a:moveTo>
                      <a:cubicBezTo>
                        <a:pt x="66220" y="702550"/>
                        <a:pt x="689195" y="-21974"/>
                        <a:pt x="987566" y="511"/>
                      </a:cubicBezTo>
                      <a:cubicBezTo>
                        <a:pt x="1285937" y="22996"/>
                        <a:pt x="1796486" y="612201"/>
                        <a:pt x="1796486" y="1246566"/>
                      </a:cubicBezTo>
                      <a:cubicBezTo>
                        <a:pt x="1796486" y="1880931"/>
                        <a:pt x="926174" y="2477631"/>
                        <a:pt x="627803" y="2455146"/>
                      </a:cubicBezTo>
                      <a:cubicBezTo>
                        <a:pt x="329432" y="2432661"/>
                        <a:pt x="-53702" y="1520762"/>
                        <a:pt x="6259" y="1111656"/>
                      </a:cubicBezTo>
                      <a:close/>
                    </a:path>
                  </a:pathLst>
                </a:custGeom>
                <a:solidFill>
                  <a:srgbClr val="1AC2AA"/>
                </a:solidFill>
                <a:ln>
                  <a:noFill/>
                </a:ln>
              </p:spPr>
              <p:txBody>
                <a:bodyPr wrap="none" lIns="82058" tIns="41029" rIns="82058" bIns="41029" rtlCol="0" anchor="ctr"/>
                <a:lstStyle/>
                <a:p>
                  <a:pPr algn="ctr" defTabSz="914382"/>
                  <a:endParaRPr lang="es-MX" sz="1400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" name="Oval 11">
                  <a:extLst>
                    <a:ext uri="{FF2B5EF4-FFF2-40B4-BE49-F238E27FC236}">
                      <a16:creationId xmlns:a16="http://schemas.microsoft.com/office/drawing/2014/main" id="{9F40F203-5C33-CEF9-A604-14F48CA4468C}"/>
                    </a:ext>
                  </a:extLst>
                </p:cNvPr>
                <p:cNvSpPr/>
                <p:nvPr/>
              </p:nvSpPr>
              <p:spPr bwMode="auto">
                <a:xfrm>
                  <a:off x="3125450" y="3178799"/>
                  <a:ext cx="764500" cy="1013694"/>
                </a:xfrm>
                <a:custGeom>
                  <a:avLst/>
                  <a:gdLst>
                    <a:gd name="connsiteX0" fmla="*/ 0 w 449705"/>
                    <a:gd name="connsiteY0" fmla="*/ 483433 h 966865"/>
                    <a:gd name="connsiteX1" fmla="*/ 224853 w 449705"/>
                    <a:gd name="connsiteY1" fmla="*/ 0 h 966865"/>
                    <a:gd name="connsiteX2" fmla="*/ 449706 w 449705"/>
                    <a:gd name="connsiteY2" fmla="*/ 483433 h 966865"/>
                    <a:gd name="connsiteX3" fmla="*/ 224853 w 449705"/>
                    <a:gd name="connsiteY3" fmla="*/ 966866 h 966865"/>
                    <a:gd name="connsiteX4" fmla="*/ 0 w 449705"/>
                    <a:gd name="connsiteY4" fmla="*/ 483433 h 966865"/>
                    <a:gd name="connsiteX0" fmla="*/ 0 w 764500"/>
                    <a:gd name="connsiteY0" fmla="*/ 804838 h 1013694"/>
                    <a:gd name="connsiteX1" fmla="*/ 539647 w 764500"/>
                    <a:gd name="connsiteY1" fmla="*/ 6611 h 1013694"/>
                    <a:gd name="connsiteX2" fmla="*/ 764500 w 764500"/>
                    <a:gd name="connsiteY2" fmla="*/ 490044 h 1013694"/>
                    <a:gd name="connsiteX3" fmla="*/ 539647 w 764500"/>
                    <a:gd name="connsiteY3" fmla="*/ 973477 h 1013694"/>
                    <a:gd name="connsiteX4" fmla="*/ 0 w 764500"/>
                    <a:gd name="connsiteY4" fmla="*/ 804838 h 10136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764500" h="1013694">
                      <a:moveTo>
                        <a:pt x="0" y="804838"/>
                      </a:moveTo>
                      <a:cubicBezTo>
                        <a:pt x="0" y="537845"/>
                        <a:pt x="412230" y="59077"/>
                        <a:pt x="539647" y="6611"/>
                      </a:cubicBezTo>
                      <a:cubicBezTo>
                        <a:pt x="667064" y="-45855"/>
                        <a:pt x="764500" y="223051"/>
                        <a:pt x="764500" y="490044"/>
                      </a:cubicBezTo>
                      <a:cubicBezTo>
                        <a:pt x="764500" y="757037"/>
                        <a:pt x="667064" y="921011"/>
                        <a:pt x="539647" y="973477"/>
                      </a:cubicBezTo>
                      <a:cubicBezTo>
                        <a:pt x="412230" y="1025943"/>
                        <a:pt x="0" y="1071831"/>
                        <a:pt x="0" y="804838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wrap="none" lIns="82058" tIns="41029" rIns="82058" bIns="41029" rtlCol="0" anchor="ctr"/>
                <a:lstStyle/>
                <a:p>
                  <a:pPr algn="ctr" defTabSz="914382"/>
                  <a:endParaRPr lang="es-MX" sz="1400">
                    <a:solidFill>
                      <a:srgbClr val="FFFFFF"/>
                    </a:solidFill>
                    <a:cs typeface="Arial" panose="020B0604020202020204" pitchFamily="34" charset="0"/>
                  </a:endParaRPr>
                </a:p>
              </p:txBody>
            </p:sp>
            <p:pic>
              <p:nvPicPr>
                <p:cNvPr id="8" name="Picture 7" descr="A cartoon of a child&#10;&#10;Description automatically generated">
                  <a:extLst>
                    <a:ext uri="{FF2B5EF4-FFF2-40B4-BE49-F238E27FC236}">
                      <a16:creationId xmlns:a16="http://schemas.microsoft.com/office/drawing/2014/main" id="{541B53AB-7137-5306-018B-618A6D1A971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588957" y="1399706"/>
                  <a:ext cx="2589551" cy="2828174"/>
                </a:xfrm>
                <a:prstGeom prst="rect">
                  <a:avLst/>
                </a:prstGeom>
              </p:spPr>
            </p:pic>
          </p:grpSp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2B83D3EE-E0A9-9A47-CC1A-E9E99EFB4B3B}"/>
                  </a:ext>
                </a:extLst>
              </p:cNvPr>
              <p:cNvSpPr/>
              <p:nvPr/>
            </p:nvSpPr>
            <p:spPr bwMode="auto">
              <a:xfrm>
                <a:off x="825712" y="1307713"/>
                <a:ext cx="1395167" cy="868243"/>
              </a:xfrm>
              <a:custGeom>
                <a:avLst/>
                <a:gdLst>
                  <a:gd name="connsiteX0" fmla="*/ 0 w 1319135"/>
                  <a:gd name="connsiteY0" fmla="*/ 387543 h 775086"/>
                  <a:gd name="connsiteX1" fmla="*/ 659568 w 1319135"/>
                  <a:gd name="connsiteY1" fmla="*/ 0 h 775086"/>
                  <a:gd name="connsiteX2" fmla="*/ 1319136 w 1319135"/>
                  <a:gd name="connsiteY2" fmla="*/ 387543 h 775086"/>
                  <a:gd name="connsiteX3" fmla="*/ 659568 w 1319135"/>
                  <a:gd name="connsiteY3" fmla="*/ 775086 h 775086"/>
                  <a:gd name="connsiteX4" fmla="*/ 0 w 1319135"/>
                  <a:gd name="connsiteY4" fmla="*/ 387543 h 775086"/>
                  <a:gd name="connsiteX0" fmla="*/ 39874 w 1359010"/>
                  <a:gd name="connsiteY0" fmla="*/ 387543 h 775086"/>
                  <a:gd name="connsiteX1" fmla="*/ 699442 w 1359010"/>
                  <a:gd name="connsiteY1" fmla="*/ 0 h 775086"/>
                  <a:gd name="connsiteX2" fmla="*/ 1359010 w 1359010"/>
                  <a:gd name="connsiteY2" fmla="*/ 387543 h 775086"/>
                  <a:gd name="connsiteX3" fmla="*/ 309698 w 1359010"/>
                  <a:gd name="connsiteY3" fmla="*/ 775086 h 775086"/>
                  <a:gd name="connsiteX4" fmla="*/ 39874 w 1359010"/>
                  <a:gd name="connsiteY4" fmla="*/ 387543 h 775086"/>
                  <a:gd name="connsiteX0" fmla="*/ 18061 w 1337197"/>
                  <a:gd name="connsiteY0" fmla="*/ 388564 h 779254"/>
                  <a:gd name="connsiteX1" fmla="*/ 677629 w 1337197"/>
                  <a:gd name="connsiteY1" fmla="*/ 1021 h 779254"/>
                  <a:gd name="connsiteX2" fmla="*/ 1337197 w 1337197"/>
                  <a:gd name="connsiteY2" fmla="*/ 508485 h 779254"/>
                  <a:gd name="connsiteX3" fmla="*/ 287885 w 1337197"/>
                  <a:gd name="connsiteY3" fmla="*/ 776107 h 779254"/>
                  <a:gd name="connsiteX4" fmla="*/ 18061 w 1337197"/>
                  <a:gd name="connsiteY4" fmla="*/ 388564 h 779254"/>
                  <a:gd name="connsiteX0" fmla="*/ 53732 w 1372868"/>
                  <a:gd name="connsiteY0" fmla="*/ 388528 h 716080"/>
                  <a:gd name="connsiteX1" fmla="*/ 713300 w 1372868"/>
                  <a:gd name="connsiteY1" fmla="*/ 985 h 716080"/>
                  <a:gd name="connsiteX2" fmla="*/ 1372868 w 1372868"/>
                  <a:gd name="connsiteY2" fmla="*/ 508449 h 716080"/>
                  <a:gd name="connsiteX3" fmla="*/ 188645 w 1372868"/>
                  <a:gd name="connsiteY3" fmla="*/ 708615 h 716080"/>
                  <a:gd name="connsiteX4" fmla="*/ 53732 w 1372868"/>
                  <a:gd name="connsiteY4" fmla="*/ 388528 h 716080"/>
                  <a:gd name="connsiteX0" fmla="*/ 65682 w 1347343"/>
                  <a:gd name="connsiteY0" fmla="*/ 252129 h 731889"/>
                  <a:gd name="connsiteX1" fmla="*/ 687775 w 1347343"/>
                  <a:gd name="connsiteY1" fmla="*/ 6992 h 731889"/>
                  <a:gd name="connsiteX2" fmla="*/ 1347343 w 1347343"/>
                  <a:gd name="connsiteY2" fmla="*/ 514456 h 731889"/>
                  <a:gd name="connsiteX3" fmla="*/ 163120 w 1347343"/>
                  <a:gd name="connsiteY3" fmla="*/ 714622 h 731889"/>
                  <a:gd name="connsiteX4" fmla="*/ 65682 w 1347343"/>
                  <a:gd name="connsiteY4" fmla="*/ 252129 h 731889"/>
                  <a:gd name="connsiteX0" fmla="*/ 65682 w 1347343"/>
                  <a:gd name="connsiteY0" fmla="*/ 253464 h 741182"/>
                  <a:gd name="connsiteX1" fmla="*/ 687775 w 1347343"/>
                  <a:gd name="connsiteY1" fmla="*/ 8327 h 741182"/>
                  <a:gd name="connsiteX2" fmla="*/ 1347343 w 1347343"/>
                  <a:gd name="connsiteY2" fmla="*/ 545771 h 741182"/>
                  <a:gd name="connsiteX3" fmla="*/ 163120 w 1347343"/>
                  <a:gd name="connsiteY3" fmla="*/ 715957 h 741182"/>
                  <a:gd name="connsiteX4" fmla="*/ 65682 w 1347343"/>
                  <a:gd name="connsiteY4" fmla="*/ 253464 h 741182"/>
                  <a:gd name="connsiteX0" fmla="*/ 65682 w 1347343"/>
                  <a:gd name="connsiteY0" fmla="*/ 253464 h 741182"/>
                  <a:gd name="connsiteX1" fmla="*/ 687775 w 1347343"/>
                  <a:gd name="connsiteY1" fmla="*/ 8327 h 741182"/>
                  <a:gd name="connsiteX2" fmla="*/ 1347343 w 1347343"/>
                  <a:gd name="connsiteY2" fmla="*/ 545771 h 741182"/>
                  <a:gd name="connsiteX3" fmla="*/ 163120 w 1347343"/>
                  <a:gd name="connsiteY3" fmla="*/ 715957 h 741182"/>
                  <a:gd name="connsiteX4" fmla="*/ 65682 w 1347343"/>
                  <a:gd name="connsiteY4" fmla="*/ 253464 h 741182"/>
                  <a:gd name="connsiteX0" fmla="*/ 65682 w 1378643"/>
                  <a:gd name="connsiteY0" fmla="*/ 253464 h 875290"/>
                  <a:gd name="connsiteX1" fmla="*/ 687775 w 1378643"/>
                  <a:gd name="connsiteY1" fmla="*/ 8327 h 875290"/>
                  <a:gd name="connsiteX2" fmla="*/ 1347343 w 1378643"/>
                  <a:gd name="connsiteY2" fmla="*/ 545771 h 875290"/>
                  <a:gd name="connsiteX3" fmla="*/ 163120 w 1378643"/>
                  <a:gd name="connsiteY3" fmla="*/ 715957 h 875290"/>
                  <a:gd name="connsiteX4" fmla="*/ 65682 w 1378643"/>
                  <a:gd name="connsiteY4" fmla="*/ 253464 h 875290"/>
                  <a:gd name="connsiteX0" fmla="*/ 81193 w 1395167"/>
                  <a:gd name="connsiteY0" fmla="*/ 253464 h 868243"/>
                  <a:gd name="connsiteX1" fmla="*/ 703286 w 1395167"/>
                  <a:gd name="connsiteY1" fmla="*/ 8327 h 868243"/>
                  <a:gd name="connsiteX2" fmla="*/ 1362854 w 1395167"/>
                  <a:gd name="connsiteY2" fmla="*/ 545771 h 868243"/>
                  <a:gd name="connsiteX3" fmla="*/ 178631 w 1395167"/>
                  <a:gd name="connsiteY3" fmla="*/ 715957 h 868243"/>
                  <a:gd name="connsiteX4" fmla="*/ 81193 w 1395167"/>
                  <a:gd name="connsiteY4" fmla="*/ 253464 h 86824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95167" h="868243">
                    <a:moveTo>
                      <a:pt x="81193" y="253464"/>
                    </a:moveTo>
                    <a:cubicBezTo>
                      <a:pt x="168635" y="135526"/>
                      <a:pt x="489676" y="-40391"/>
                      <a:pt x="703286" y="8327"/>
                    </a:cubicBezTo>
                    <a:cubicBezTo>
                      <a:pt x="916896" y="57045"/>
                      <a:pt x="1280408" y="-50512"/>
                      <a:pt x="1362854" y="545771"/>
                    </a:cubicBezTo>
                    <a:cubicBezTo>
                      <a:pt x="1602696" y="1134560"/>
                      <a:pt x="437212" y="742189"/>
                      <a:pt x="178631" y="715957"/>
                    </a:cubicBezTo>
                    <a:cubicBezTo>
                      <a:pt x="-79950" y="689725"/>
                      <a:pt x="-6249" y="371402"/>
                      <a:pt x="81193" y="253464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none" lIns="82058" tIns="41029" rIns="82058" bIns="41029" rtlCol="0" anchor="ctr"/>
              <a:lstStyle/>
              <a:p>
                <a:pPr algn="ctr" defTabSz="914382"/>
                <a:endParaRPr lang="es-MX" sz="140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5" name="Oval 13">
                <a:extLst>
                  <a:ext uri="{FF2B5EF4-FFF2-40B4-BE49-F238E27FC236}">
                    <a16:creationId xmlns:a16="http://schemas.microsoft.com/office/drawing/2014/main" id="{9F4172C0-56F5-E172-AB37-8088354CF50B}"/>
                  </a:ext>
                </a:extLst>
              </p:cNvPr>
              <p:cNvSpPr/>
              <p:nvPr/>
            </p:nvSpPr>
            <p:spPr bwMode="auto">
              <a:xfrm>
                <a:off x="803226" y="1381625"/>
                <a:ext cx="695788" cy="73948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none" lIns="82058" tIns="41029" rIns="82058" bIns="41029" rtlCol="0" anchor="ctr"/>
              <a:lstStyle/>
              <a:p>
                <a:pPr algn="ctr" defTabSz="914382"/>
                <a:endParaRPr lang="es-MX" sz="1400">
                  <a:solidFill>
                    <a:srgbClr val="FFFFFF"/>
                  </a:solidFill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20" name="Graphic 19" descr="Airplane with solid fill">
              <a:extLst>
                <a:ext uri="{FF2B5EF4-FFF2-40B4-BE49-F238E27FC236}">
                  <a16:creationId xmlns:a16="http://schemas.microsoft.com/office/drawing/2014/main" id="{D21722C8-4652-4FD9-9286-E31AC671A15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98128" y="1319135"/>
              <a:ext cx="781922" cy="781922"/>
            </a:xfrm>
            <a:prstGeom prst="rect">
              <a:avLst/>
            </a:prstGeom>
          </p:spPr>
        </p:pic>
        <p:pic>
          <p:nvPicPr>
            <p:cNvPr id="22" name="Graphic 21" descr="Taxi with solid fill">
              <a:extLst>
                <a:ext uri="{FF2B5EF4-FFF2-40B4-BE49-F238E27FC236}">
                  <a16:creationId xmlns:a16="http://schemas.microsoft.com/office/drawing/2014/main" id="{16869D32-F1E6-616E-7D01-BAB09B4E2CF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576763" y="1559027"/>
              <a:ext cx="655820" cy="6558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8329667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B43005-21D3-9F4D-82B9-73109CDDFC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B43005-21D3-9F4D-82B9-73109CDDF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A38E810-2026-7DCD-BDB0-7CA4C1955F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Recomendaciones</a:t>
            </a:r>
            <a:endParaRPr lang="en-US" dirty="0"/>
          </a:p>
        </p:txBody>
      </p:sp>
      <p:pic>
        <p:nvPicPr>
          <p:cNvPr id="5" name="Picture 2" descr="Resultado de imagen de driver icon gif">
            <a:extLst>
              <a:ext uri="{FF2B5EF4-FFF2-40B4-BE49-F238E27FC236}">
                <a16:creationId xmlns:a16="http://schemas.microsoft.com/office/drawing/2014/main" id="{A7A5F057-D0CD-DD1E-24C8-30552EB50849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043" y="3138983"/>
            <a:ext cx="5880141" cy="4410106"/>
          </a:xfrm>
          <a:prstGeom prst="rect">
            <a:avLst/>
          </a:prstGeom>
          <a:noFill/>
          <a:effectLst>
            <a:softEdge rad="889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32B896-23B8-5048-69AA-D5D6E78D76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4401" y="1698596"/>
            <a:ext cx="7987573" cy="2149338"/>
          </a:xfrm>
        </p:spPr>
        <p:txBody>
          <a:bodyPr/>
          <a:lstStyle/>
          <a:p>
            <a:pPr marL="293688" lvl="1" indent="-285750" algn="just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s-ES" dirty="0"/>
              <a:t>Previo a salir a carretera, abastece suficiente combustible para evitar paradas en puntos intermedios de la ruta.</a:t>
            </a:r>
          </a:p>
          <a:p>
            <a:pPr marL="293688" lvl="1" indent="-285750" algn="just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s-ES" dirty="0"/>
              <a:t>Durante el traslado, evita parar en tiendas de conveniencia (oxxo, 7eleven, Extra, Circulo K, etc.).</a:t>
            </a:r>
          </a:p>
          <a:p>
            <a:pPr marL="293688" lvl="1" indent="-285750" algn="just">
              <a:buFont typeface="Wingdings" panose="05000000000000000000" pitchFamily="2" charset="2"/>
              <a:buChar char="ü"/>
            </a:pPr>
            <a:r>
              <a:rPr lang="es-ES" b="1" dirty="0">
                <a:highlight>
                  <a:srgbClr val="FFFF00"/>
                </a:highlight>
              </a:rPr>
              <a:t>Al estacionar el vehículo, jamás dejes tu equipo de cómputo a bordo ni objetos llamativos para los delincuentes. </a:t>
            </a:r>
            <a:r>
              <a:rPr lang="es-ES" b="1" dirty="0"/>
              <a:t>¡Ni por un minuto!</a:t>
            </a:r>
            <a:endParaRPr lang="es-ES" sz="1400" dirty="0"/>
          </a:p>
          <a:p>
            <a:pPr marL="287338" indent="-285750" algn="just">
              <a:buFont typeface="Wingdings" panose="05000000000000000000" pitchFamily="2" charset="2"/>
              <a:buChar char="ü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6114171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B43005-21D3-9F4D-82B9-73109CDDFC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B43005-21D3-9F4D-82B9-73109CDDF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5A38E810-2026-7DCD-BDB0-7CA4C1955F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Recomendaciones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045D0AB-6392-6D5F-CB44-A6F71DC83A08}"/>
              </a:ext>
            </a:extLst>
          </p:cNvPr>
          <p:cNvSpPr txBox="1"/>
          <p:nvPr/>
        </p:nvSpPr>
        <p:spPr>
          <a:xfrm>
            <a:off x="259997" y="1514161"/>
            <a:ext cx="8514431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93688" lvl="1" indent="-285750" algn="just">
              <a:spcAft>
                <a:spcPts val="12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ü"/>
            </a:pPr>
            <a:r>
              <a:rPr lang="es-ES" sz="1400" dirty="0">
                <a:cs typeface="Calibri Light"/>
              </a:rPr>
              <a:t>Porta siempre tu gafete de identificación de la empresa y usa vestimenta identificativa a tus funciones.</a:t>
            </a:r>
          </a:p>
          <a:p>
            <a:pPr marL="293688" lvl="1" indent="-285750" algn="just">
              <a:spcAft>
                <a:spcPts val="12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ü"/>
            </a:pPr>
            <a:r>
              <a:rPr lang="es-ES" sz="1400" dirty="0">
                <a:cs typeface="Calibri Light"/>
              </a:rPr>
              <a:t>Mantén tu teléfono celular con carga suficiente,</a:t>
            </a:r>
          </a:p>
          <a:p>
            <a:pPr marL="293688" lvl="1" indent="-285750" algn="just">
              <a:spcAft>
                <a:spcPts val="12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ü"/>
            </a:pPr>
            <a:r>
              <a:rPr lang="es-ES" sz="1400" dirty="0">
                <a:cs typeface="Calibri Light"/>
              </a:rPr>
              <a:t>Mantén actualizados tus contactos de emergencia en tu celular.</a:t>
            </a:r>
          </a:p>
          <a:p>
            <a:pPr marL="293688" lvl="1" indent="-285750" algn="just">
              <a:spcAft>
                <a:spcPts val="1200"/>
              </a:spcAft>
              <a:buClr>
                <a:schemeClr val="accent2"/>
              </a:buClr>
              <a:buSzPct val="120000"/>
              <a:buFont typeface="Wingdings" panose="05000000000000000000" pitchFamily="2" charset="2"/>
              <a:buChar char="ü"/>
            </a:pPr>
            <a:r>
              <a:rPr lang="es-ES" sz="1400" dirty="0">
                <a:cs typeface="Calibri Light"/>
              </a:rPr>
              <a:t>Apunta en un papel los números de teléfono de tu supervisor, el Centro de Control y un familiar. </a:t>
            </a:r>
            <a:br>
              <a:rPr lang="es-ES" sz="1400" dirty="0">
                <a:cs typeface="Calibri Light"/>
              </a:rPr>
            </a:br>
            <a:r>
              <a:rPr lang="es-ES" sz="1400" b="1" dirty="0">
                <a:cs typeface="Calibri Light"/>
              </a:rPr>
              <a:t>Nunca sabes cuando le pueda pasar algo a tu celular.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1A454AC-DE44-2386-DFFC-96374AED995A}"/>
              </a:ext>
            </a:extLst>
          </p:cNvPr>
          <p:cNvGrpSpPr/>
          <p:nvPr/>
        </p:nvGrpSpPr>
        <p:grpSpPr>
          <a:xfrm>
            <a:off x="1926237" y="4209607"/>
            <a:ext cx="2645764" cy="2633404"/>
            <a:chOff x="1" y="4224597"/>
            <a:chExt cx="2645764" cy="2633404"/>
          </a:xfrm>
        </p:grpSpPr>
        <p:pic>
          <p:nvPicPr>
            <p:cNvPr id="1026" name="Picture 2" descr="Premium Vector | Emergency phone call. hand holding phone. vector  smartphone with emergency calling. mobile phone mockup. smartphone  technology.">
              <a:extLst>
                <a:ext uri="{FF2B5EF4-FFF2-40B4-BE49-F238E27FC236}">
                  <a16:creationId xmlns:a16="http://schemas.microsoft.com/office/drawing/2014/main" id="{39BCECA2-BDC6-A211-57F0-0707B24EEAB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1547" t="27868" r="21803" b="5793"/>
            <a:stretch/>
          </p:blipFill>
          <p:spPr bwMode="auto">
            <a:xfrm>
              <a:off x="1" y="4224597"/>
              <a:ext cx="2645764" cy="26334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9626DC9B-A1A5-86BF-5B17-FE1DE51F746F}"/>
                </a:ext>
              </a:extLst>
            </p:cNvPr>
            <p:cNvSpPr txBox="1"/>
            <p:nvPr/>
          </p:nvSpPr>
          <p:spPr>
            <a:xfrm>
              <a:off x="1266669" y="4916776"/>
              <a:ext cx="921895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200" b="1" dirty="0">
                  <a:latin typeface="Calibri" panose="020F0502020204030204" pitchFamily="34" charset="0"/>
                  <a:cs typeface="Calibri" panose="020F0502020204030204" pitchFamily="34" charset="0"/>
                </a:rPr>
                <a:t>Contactos de emergencia</a:t>
              </a:r>
            </a:p>
          </p:txBody>
        </p:sp>
        <p:pic>
          <p:nvPicPr>
            <p:cNvPr id="9" name="Graphic 8" descr="Full battery with solid fill">
              <a:extLst>
                <a:ext uri="{FF2B5EF4-FFF2-40B4-BE49-F238E27FC236}">
                  <a16:creationId xmlns:a16="http://schemas.microsoft.com/office/drawing/2014/main" id="{248B6599-34E3-CFB4-4D3A-ACD85661D88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797654" y="4416046"/>
              <a:ext cx="390910" cy="390910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8027C39-BEB5-352C-6D78-CA34CF42A1FC}"/>
              </a:ext>
            </a:extLst>
          </p:cNvPr>
          <p:cNvGrpSpPr/>
          <p:nvPr/>
        </p:nvGrpSpPr>
        <p:grpSpPr>
          <a:xfrm rot="689022">
            <a:off x="4730948" y="4729469"/>
            <a:ext cx="1359383" cy="1733453"/>
            <a:chOff x="2645764" y="4714409"/>
            <a:chExt cx="1495911" cy="1941224"/>
          </a:xfrm>
        </p:grpSpPr>
        <p:pic>
          <p:nvPicPr>
            <p:cNvPr id="1030" name="Picture 6" descr="Paper sheet PNG images free download, paper PNG | Pngimg.com">
              <a:extLst>
                <a:ext uri="{FF2B5EF4-FFF2-40B4-BE49-F238E27FC236}">
                  <a16:creationId xmlns:a16="http://schemas.microsoft.com/office/drawing/2014/main" id="{E424D9E8-C2BE-65C4-7FC2-5006924403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45764" y="4714409"/>
              <a:ext cx="1495911" cy="19412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486D31E-4028-2FB6-823B-C90F7BA13C11}"/>
                </a:ext>
              </a:extLst>
            </p:cNvPr>
            <p:cNvSpPr txBox="1"/>
            <p:nvPr/>
          </p:nvSpPr>
          <p:spPr>
            <a:xfrm>
              <a:off x="2848067" y="4730078"/>
              <a:ext cx="119927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200" b="1" dirty="0">
                  <a:latin typeface="Calibri" panose="020F0502020204030204" pitchFamily="34" charset="0"/>
                  <a:cs typeface="Calibri" panose="020F0502020204030204" pitchFamily="34" charset="0"/>
                </a:rPr>
                <a:t>Contactos de emergenci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5072590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B43005-21D3-9F4D-82B9-73109CDDFC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B43005-21D3-9F4D-82B9-73109CDDF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32B896-23B8-5048-69AA-D5D6E78D76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3121" y="1645920"/>
            <a:ext cx="5323200" cy="4617720"/>
          </a:xfrm>
        </p:spPr>
        <p:txBody>
          <a:bodyPr/>
          <a:lstStyle/>
          <a:p>
            <a:pPr marL="293688" lvl="1" indent="-285750"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s-MX" sz="1300" dirty="0"/>
              <a:t>Al transitar, si alguien </a:t>
            </a:r>
            <a:r>
              <a:rPr lang="es-MX" sz="1300" b="1" dirty="0"/>
              <a:t>te pida ayuda, no te detengas</a:t>
            </a:r>
            <a:r>
              <a:rPr lang="es-MX" sz="1300" dirty="0"/>
              <a:t>, puede ser un engaño.</a:t>
            </a:r>
          </a:p>
          <a:p>
            <a:pPr marL="293688" lvl="1" indent="-285750"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es-MX" sz="1300" dirty="0"/>
              <a:t>En caso de ser detenido por un puesto de control (retén), ya sea oficial o no: </a:t>
            </a:r>
          </a:p>
          <a:p>
            <a:pPr marL="635000" lvl="2" indent="-28575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s-MX" sz="1300" dirty="0"/>
              <a:t>Nunca trates de evadir el puesto de control. </a:t>
            </a:r>
          </a:p>
          <a:p>
            <a:pPr marL="635000" lvl="2" indent="-28575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s-MX" sz="1300" dirty="0"/>
              <a:t>Enciende las intermitentes y disminuye paulatinamente la velocidad.</a:t>
            </a:r>
          </a:p>
          <a:p>
            <a:pPr marL="635000" lvl="2" indent="-28575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s-MX" sz="1300" dirty="0"/>
              <a:t>Abre las ventanas, y coloca tus manos en el volante.</a:t>
            </a:r>
          </a:p>
          <a:p>
            <a:pPr marL="635000" lvl="2" indent="-28575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s-MX" sz="1300" dirty="0"/>
              <a:t>Se claro en tus respuestas. </a:t>
            </a:r>
          </a:p>
          <a:p>
            <a:pPr lvl="2" indent="0" algn="just">
              <a:spcAft>
                <a:spcPts val="300"/>
              </a:spcAft>
              <a:buNone/>
            </a:pPr>
            <a:endParaRPr lang="es-MX" sz="1300" dirty="0"/>
          </a:p>
          <a:p>
            <a:pPr marL="635000" lvl="2" indent="-28575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s-MX" sz="1300" dirty="0"/>
              <a:t>Responder </a:t>
            </a:r>
            <a:r>
              <a:rPr lang="es-MX" sz="1300" b="1" dirty="0"/>
              <a:t>solo lo que pregunten</a:t>
            </a:r>
            <a:r>
              <a:rPr lang="es-MX" sz="1300" dirty="0"/>
              <a:t>, por lo regular el tipo de preguntas son: </a:t>
            </a:r>
          </a:p>
          <a:p>
            <a:pPr lvl="2" indent="0" algn="just">
              <a:spcAft>
                <a:spcPts val="300"/>
              </a:spcAft>
              <a:buNone/>
            </a:pPr>
            <a:endParaRPr lang="es-MX" sz="700" dirty="0"/>
          </a:p>
          <a:p>
            <a:pPr marL="976313" lvl="3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MX" sz="1300" dirty="0"/>
              <a:t>	¿De dónde viene? </a:t>
            </a:r>
          </a:p>
          <a:p>
            <a:pPr marL="976313" lvl="3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MX" sz="1300" dirty="0"/>
              <a:t>	¿A dónde se dirige? </a:t>
            </a:r>
          </a:p>
          <a:p>
            <a:pPr marL="976313" lvl="3" indent="-28575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s-MX" sz="1300" dirty="0"/>
              <a:t>	¿A qué se dedica? </a:t>
            </a:r>
          </a:p>
          <a:p>
            <a:pPr marL="635000" lvl="2" indent="-285750" algn="just">
              <a:spcAft>
                <a:spcPts val="300"/>
              </a:spcAft>
              <a:buFont typeface="Wingdings" panose="05000000000000000000" pitchFamily="2" charset="2"/>
              <a:buChar char="§"/>
            </a:pPr>
            <a:endParaRPr lang="es-MX" sz="700" dirty="0"/>
          </a:p>
          <a:p>
            <a:pPr marL="635000" lvl="2" indent="-285750" algn="just">
              <a:lnSpc>
                <a:spcPct val="120000"/>
              </a:lnSpc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s-MX" sz="1300" dirty="0"/>
              <a:t>Nunca menciones tu cargo dentro de la compañía puedes decir: soy trabajador.</a:t>
            </a:r>
            <a:endParaRPr lang="en-US" sz="13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A38E810-2026-7DCD-BDB0-7CA4C1955F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/>
              <a:t>Recomendaciones</a:t>
            </a:r>
            <a:endParaRPr lang="en-US" dirty="0"/>
          </a:p>
        </p:txBody>
      </p:sp>
      <p:pic>
        <p:nvPicPr>
          <p:cNvPr id="5" name="Picture 2" descr="Resultado de imagen de driver icon gif">
            <a:extLst>
              <a:ext uri="{FF2B5EF4-FFF2-40B4-BE49-F238E27FC236}">
                <a16:creationId xmlns:a16="http://schemas.microsoft.com/office/drawing/2014/main" id="{A7A5F057-D0CD-DD1E-24C8-30552EB50849}"/>
              </a:ext>
            </a:extLst>
          </p:cNvPr>
          <p:cNvPicPr>
            <a:picLocks noChangeAspect="1" noChangeArrowheads="1" noCrop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2698" y="1645920"/>
            <a:ext cx="5122672" cy="3842004"/>
          </a:xfrm>
          <a:prstGeom prst="rect">
            <a:avLst/>
          </a:prstGeom>
          <a:noFill/>
          <a:effectLst>
            <a:softEdge rad="889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27267983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B43005-21D3-9F4D-82B9-73109CDDFC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B43005-21D3-9F4D-82B9-73109CDDF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32B896-23B8-5048-69AA-D5D6E78D76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3061" y="2128604"/>
            <a:ext cx="5825372" cy="3597142"/>
          </a:xfrm>
        </p:spPr>
        <p:txBody>
          <a:bodyPr/>
          <a:lstStyle/>
          <a:p>
            <a:pPr lvl="1">
              <a:lnSpc>
                <a:spcPct val="120000"/>
              </a:lnSpc>
            </a:pPr>
            <a:r>
              <a:rPr lang="es-MX" sz="1800" dirty="0"/>
              <a:t>Si llegas a sufrir algún incidente, </a:t>
            </a:r>
            <a:r>
              <a:rPr lang="es-MX" sz="1800" b="1" dirty="0"/>
              <a:t>notifícalo. </a:t>
            </a:r>
          </a:p>
          <a:p>
            <a:pPr lvl="1">
              <a:lnSpc>
                <a:spcPct val="120000"/>
              </a:lnSpc>
            </a:pPr>
            <a:r>
              <a:rPr lang="es-MX" sz="1800" b="1" dirty="0"/>
              <a:t>Y si ves algo, di algo…</a:t>
            </a:r>
          </a:p>
          <a:p>
            <a:pPr lvl="1">
              <a:lnSpc>
                <a:spcPct val="120000"/>
              </a:lnSpc>
            </a:pPr>
            <a:r>
              <a:rPr lang="es-MX" sz="1800" dirty="0"/>
              <a:t>Tus reportes nos ayudaran a mantenerte a ti y</a:t>
            </a:r>
            <a:br>
              <a:rPr lang="es-MX" sz="1800" dirty="0"/>
            </a:br>
            <a:r>
              <a:rPr lang="es-MX" sz="1800" dirty="0"/>
              <a:t>al resto de los colaboradores protegido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A38E810-2026-7DCD-BDB0-7CA4C1955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4538" y="457200"/>
            <a:ext cx="8069890" cy="536553"/>
          </a:xfrm>
        </p:spPr>
        <p:txBody>
          <a:bodyPr/>
          <a:lstStyle/>
          <a:p>
            <a:r>
              <a:rPr lang="es-MX" b="1" dirty="0"/>
              <a:t>CONTACTO</a:t>
            </a:r>
            <a:endParaRPr lang="en-US" b="1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4838749-46C2-C0A9-4491-9022AA9A12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4005544"/>
              </p:ext>
            </p:extLst>
          </p:nvPr>
        </p:nvGraphicFramePr>
        <p:xfrm>
          <a:off x="286398" y="4560648"/>
          <a:ext cx="8412480" cy="1554479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167038">
                  <a:extLst>
                    <a:ext uri="{9D8B030D-6E8A-4147-A177-3AD203B41FA5}">
                      <a16:colId xmlns:a16="http://schemas.microsoft.com/office/drawing/2014/main" val="3907276376"/>
                    </a:ext>
                  </a:extLst>
                </a:gridCol>
                <a:gridCol w="6245442">
                  <a:extLst>
                    <a:ext uri="{9D8B030D-6E8A-4147-A177-3AD203B41FA5}">
                      <a16:colId xmlns:a16="http://schemas.microsoft.com/office/drawing/2014/main" val="155744843"/>
                    </a:ext>
                  </a:extLst>
                </a:gridCol>
              </a:tblGrid>
              <a:tr h="312622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ES" sz="1400" b="1" dirty="0">
                          <a:solidFill>
                            <a:schemeClr val="bg1"/>
                          </a:solidFill>
                          <a:effectLst/>
                        </a:rPr>
                        <a:t>Contacto a Centro de Control Sempra Infraestructura México</a:t>
                      </a:r>
                      <a:endParaRPr lang="en-US" sz="12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001C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2728382"/>
                  </a:ext>
                </a:extLst>
              </a:tr>
              <a:tr h="273590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Lada sin costo (24 horas)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(800) 890-3540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33886817"/>
                  </a:ext>
                </a:extLst>
              </a:tr>
              <a:tr h="273590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Celular (WhatsApp)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(55) 3223-2103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82888773"/>
                  </a:ext>
                </a:extLst>
              </a:tr>
              <a:tr h="291050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ES" sz="1400" dirty="0">
                          <a:effectLst/>
                        </a:rPr>
                        <a:t>Correo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ES" sz="1400" u="sng" dirty="0">
                          <a:effectLst/>
                          <a:hlinkClick r:id="rId5"/>
                        </a:rPr>
                        <a:t>seguridad_corporativa@sempraglobal.com.mx</a:t>
                      </a:r>
                      <a:r>
                        <a:rPr lang="es-ES" sz="1400" u="sng" dirty="0">
                          <a:effectLst/>
                        </a:rPr>
                        <a:t> 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494932"/>
                  </a:ext>
                </a:extLst>
              </a:tr>
              <a:tr h="403627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MX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o con el Líder de Seguridad Patrimonial y Protección de tu región.</a:t>
                      </a:r>
                      <a:endParaRPr lang="es-MX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6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6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6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541541"/>
                  </a:ext>
                </a:extLst>
              </a:tr>
            </a:tbl>
          </a:graphicData>
        </a:graphic>
      </p:graphicFrame>
      <p:pic>
        <p:nvPicPr>
          <p:cNvPr id="7" name="Picture 6" descr="Cartoon a cartoon of a person holding a phone&#10;&#10;Description automatically generated">
            <a:extLst>
              <a:ext uri="{FF2B5EF4-FFF2-40B4-BE49-F238E27FC236}">
                <a16:creationId xmlns:a16="http://schemas.microsoft.com/office/drawing/2014/main" id="{93279A49-3E6F-6AE5-3FD2-C5B8072D26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53311" y="1386590"/>
            <a:ext cx="2945567" cy="2945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90633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empra Template 2021_4x3">
  <a:themeElements>
    <a:clrScheme name="IR Version">
      <a:dk1>
        <a:srgbClr val="000000"/>
      </a:dk1>
      <a:lt1>
        <a:srgbClr val="FFFFFF"/>
      </a:lt1>
      <a:dk2>
        <a:srgbClr val="001C71"/>
      </a:dk2>
      <a:lt2>
        <a:srgbClr val="009BDA"/>
      </a:lt2>
      <a:accent1>
        <a:srgbClr val="001C71"/>
      </a:accent1>
      <a:accent2>
        <a:srgbClr val="0073A3"/>
      </a:accent2>
      <a:accent3>
        <a:srgbClr val="009BDA"/>
      </a:accent3>
      <a:accent4>
        <a:srgbClr val="51C6D8"/>
      </a:accent4>
      <a:accent5>
        <a:srgbClr val="23AE49"/>
      </a:accent5>
      <a:accent6>
        <a:srgbClr val="646E7B"/>
      </a:accent6>
      <a:hlink>
        <a:srgbClr val="001C71"/>
      </a:hlink>
      <a:folHlink>
        <a:srgbClr val="51C6D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wrap="none" lIns="82058" tIns="41029" rIns="82058" bIns="41029" anchor="ctr"/>
      <a:lstStyle>
        <a:defPPr defTabSz="914382">
          <a:defRPr sz="1400">
            <a:solidFill>
              <a:srgbClr val="FFFFFF"/>
            </a:solidFill>
            <a:cs typeface="Arial" panose="020B0604020202020204" pitchFamily="34" charset="0"/>
          </a:defRPr>
        </a:defPPr>
      </a:lst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Eternal Blue">
      <a:srgbClr val="001C71"/>
    </a:custClr>
    <a:custClr name="Midday Sky">
      <a:srgbClr val="009BDA"/>
    </a:custClr>
    <a:custClr name="Cove Blue">
      <a:srgbClr val="52C6D8"/>
    </a:custClr>
    <a:custClr name="Field Green">
      <a:srgbClr val="23AE49"/>
    </a:custClr>
    <a:custClr name="Sunburst Yellow">
      <a:srgbClr val="FBDD3E"/>
    </a:custClr>
    <a:custClr name="Slate">
      <a:srgbClr val="646E7B"/>
    </a:custClr>
    <a:custClr name="White">
      <a:srgbClr val="FFFFFF"/>
    </a:custClr>
    <a:custClr name="Deep Blue Sea">
      <a:srgbClr val="0074A3"/>
    </a:custClr>
    <a:custClr name="Creek Stone">
      <a:srgbClr val="D9D1B4"/>
    </a:custClr>
    <a:custClr name="White">
      <a:srgbClr val="FFFFFF"/>
    </a:custClr>
    <a:custClr name="80% Eternal Blue">
      <a:srgbClr val="33498D"/>
    </a:custClr>
    <a:custClr name="80% Midday Sky">
      <a:srgbClr val="33AFE1"/>
    </a:custClr>
    <a:custClr name="80% Cove Blue">
      <a:srgbClr val="75D1E0"/>
    </a:custClr>
    <a:custClr name="80% Field Green">
      <a:srgbClr val="4FBE6D"/>
    </a:custClr>
    <a:custClr name="80% Sunburst Yellow">
      <a:srgbClr val="FCE465"/>
    </a:custClr>
    <a:custClr name="80% Slate">
      <a:srgbClr val="838B95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60% Eternal Blue">
      <a:srgbClr val="6677AA"/>
    </a:custClr>
    <a:custClr name="60% Midday Sky">
      <a:srgbClr val="66C3E9"/>
    </a:custClr>
    <a:custClr name="60% Cove Blue">
      <a:srgbClr val="97DDE8"/>
    </a:custClr>
    <a:custClr name="60% Field Green">
      <a:srgbClr val="7BCE92"/>
    </a:custClr>
    <a:custClr name="60% Sunburst Yellow">
      <a:srgbClr val="FDEB8B"/>
    </a:custClr>
    <a:custClr name="60% Slate">
      <a:srgbClr val="A2A8B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40% Eternal Blue">
      <a:srgbClr val="99A4C6"/>
    </a:custClr>
    <a:custClr name="40% Midday Sky">
      <a:srgbClr val="99D7F0"/>
    </a:custClr>
    <a:custClr name="40% Cove Blue">
      <a:srgbClr val="BAE8EF"/>
    </a:custClr>
    <a:custClr name="40% Field Green">
      <a:srgbClr val="A7DFB6"/>
    </a:custClr>
    <a:custClr name="40% Sunburst Yellow">
      <a:srgbClr val="FDF1B2"/>
    </a:custClr>
    <a:custClr name="40% Slate">
      <a:srgbClr val="C1C5CA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20% Eternal Blue">
      <a:srgbClr val="CCD2E3"/>
    </a:custClr>
    <a:custClr name="20% Midday Sky">
      <a:srgbClr val="CCEBF8"/>
    </a:custClr>
    <a:custClr name="20% Cove Blue">
      <a:srgbClr val="DCF4F7"/>
    </a:custClr>
    <a:custClr name="20% Field Green">
      <a:srgbClr val="D3EFDB"/>
    </a:custClr>
    <a:custClr name="20% Sunburst Yellow">
      <a:srgbClr val="FEF8D8"/>
    </a:custClr>
    <a:custClr name="20% Slate">
      <a:srgbClr val="E0E2E5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Presentation4" id="{FD9903D0-A50A-2347-A46A-6ECE6C793C05}" vid="{C8011490-0347-2D40-87F7-D87184BAB52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A8012E1B564424187BA0013A1E4CC09" ma:contentTypeVersion="24" ma:contentTypeDescription="Create a new document." ma:contentTypeScope="" ma:versionID="9b5aef8bd927acca594a7c14c105936d">
  <xsd:schema xmlns:xsd="http://www.w3.org/2001/XMLSchema" xmlns:xs="http://www.w3.org/2001/XMLSchema" xmlns:p="http://schemas.microsoft.com/office/2006/metadata/properties" xmlns:ns2="4ed9e502-03c7-4155-a3d6-70e3032a3089" xmlns:ns3="821e24dd-0fa0-413c-a2eb-0b3240688335" targetNamespace="http://schemas.microsoft.com/office/2006/metadata/properties" ma:root="true" ma:fieldsID="31f126debb0c869e67de35e20b3bd714" ns2:_="" ns3:_="">
    <xsd:import namespace="4ed9e502-03c7-4155-a3d6-70e3032a3089"/>
    <xsd:import namespace="821e24dd-0fa0-413c-a2eb-0b324068833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  <xsd:element ref="ns2:FileLocation" minOccurs="0"/>
                <xsd:element ref="ns2:afb20664-cb05-41cc-9c20-e05a99dbd519CountryOrRegion" minOccurs="0"/>
                <xsd:element ref="ns2:afb20664-cb05-41cc-9c20-e05a99dbd519State" minOccurs="0"/>
                <xsd:element ref="ns2:afb20664-cb05-41cc-9c20-e05a99dbd519City" minOccurs="0"/>
                <xsd:element ref="ns2:afb20664-cb05-41cc-9c20-e05a99dbd519PostalCode" minOccurs="0"/>
                <xsd:element ref="ns2:afb20664-cb05-41cc-9c20-e05a99dbd519Street" minOccurs="0"/>
                <xsd:element ref="ns2:afb20664-cb05-41cc-9c20-e05a99dbd519GeoLoc" minOccurs="0"/>
                <xsd:element ref="ns2:afb20664-cb05-41cc-9c20-e05a99dbd519DispName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d9e502-03c7-4155-a3d6-70e3032a308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FileLocation" ma:index="19" nillable="true" ma:displayName="File Location" ma:format="Dropdown" ma:internalName="FileLocation">
      <xsd:simpleType>
        <xsd:restriction base="dms:Unknown"/>
      </xsd:simpleType>
    </xsd:element>
    <xsd:element name="afb20664-cb05-41cc-9c20-e05a99dbd519CountryOrRegion" ma:index="20" nillable="true" ma:displayName="File Location: Country/Region" ma:internalName="CountryOrRegion" ma:readOnly="true">
      <xsd:simpleType>
        <xsd:restriction base="dms:Text"/>
      </xsd:simpleType>
    </xsd:element>
    <xsd:element name="afb20664-cb05-41cc-9c20-e05a99dbd519State" ma:index="21" nillable="true" ma:displayName="File Location: State" ma:internalName="State" ma:readOnly="true">
      <xsd:simpleType>
        <xsd:restriction base="dms:Text"/>
      </xsd:simpleType>
    </xsd:element>
    <xsd:element name="afb20664-cb05-41cc-9c20-e05a99dbd519City" ma:index="22" nillable="true" ma:displayName="File Location: City" ma:internalName="City" ma:readOnly="true">
      <xsd:simpleType>
        <xsd:restriction base="dms:Text"/>
      </xsd:simpleType>
    </xsd:element>
    <xsd:element name="afb20664-cb05-41cc-9c20-e05a99dbd519PostalCode" ma:index="23" nillable="true" ma:displayName="File Location: Postal Code" ma:internalName="PostalCode" ma:readOnly="true">
      <xsd:simpleType>
        <xsd:restriction base="dms:Text"/>
      </xsd:simpleType>
    </xsd:element>
    <xsd:element name="afb20664-cb05-41cc-9c20-e05a99dbd519Street" ma:index="24" nillable="true" ma:displayName="File Location: Street" ma:internalName="Street" ma:readOnly="true">
      <xsd:simpleType>
        <xsd:restriction base="dms:Text"/>
      </xsd:simpleType>
    </xsd:element>
    <xsd:element name="afb20664-cb05-41cc-9c20-e05a99dbd519GeoLoc" ma:index="25" nillable="true" ma:displayName="File Location: Coordinates" ma:internalName="GeoLoc" ma:readOnly="true">
      <xsd:simpleType>
        <xsd:restriction base="dms:Unknown"/>
      </xsd:simpleType>
    </xsd:element>
    <xsd:element name="afb20664-cb05-41cc-9c20-e05a99dbd519DispName" ma:index="26" nillable="true" ma:displayName="File Location: Name" ma:internalName="DispName" ma:readOnly="true">
      <xsd:simpleType>
        <xsd:restriction base="dms:Text"/>
      </xsd:simpleType>
    </xsd:element>
    <xsd:element name="MediaServiceLocation" ma:index="27" nillable="true" ma:displayName="Location" ma:internalName="MediaServiceLocation" ma:readOnly="true">
      <xsd:simpleType>
        <xsd:restriction base="dms:Text"/>
      </xsd:simpleType>
    </xsd:element>
    <xsd:element name="MediaLengthInSeconds" ma:index="2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30" nillable="true" ma:taxonomy="true" ma:internalName="lcf76f155ced4ddcb4097134ff3c332f" ma:taxonomyFieldName="MediaServiceImageTags" ma:displayName="Image Tags" ma:readOnly="false" ma:fieldId="{5cf76f15-5ced-4ddc-b409-7134ff3c332f}" ma:taxonomyMulti="true" ma:sspId="199c8f0f-62e3-48c7-84e8-4daf5ce6c20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1e24dd-0fa0-413c-a2eb-0b3240688335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31" nillable="true" ma:displayName="Taxonomy Catch All Column" ma:hidden="true" ma:list="{77eebe97-6e66-42a6-b859-bad3e317ec50}" ma:internalName="TaxCatchAll" ma:showField="CatchAllData" ma:web="821e24dd-0fa0-413c-a2eb-0b324068833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ileLocation xmlns="4ed9e502-03c7-4155-a3d6-70e3032a3089" xsi:nil="true"/>
    <TaxCatchAll xmlns="821e24dd-0fa0-413c-a2eb-0b3240688335" xsi:nil="true"/>
    <lcf76f155ced4ddcb4097134ff3c332f xmlns="4ed9e502-03c7-4155-a3d6-70e3032a3089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6C44F0A-25E8-4BFD-ADB0-F748CD9D5C4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ed9e502-03c7-4155-a3d6-70e3032a3089"/>
    <ds:schemaRef ds:uri="821e24dd-0fa0-413c-a2eb-0b324068833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E6111BF-8CE0-4526-ACC7-9150E63FE11A}">
  <ds:schemaRefs>
    <ds:schemaRef ds:uri="http://schemas.microsoft.com/office/2006/metadata/properties"/>
    <ds:schemaRef ds:uri="http://schemas.microsoft.com/office/infopath/2007/PartnerControls"/>
    <ds:schemaRef ds:uri="4ed9e502-03c7-4155-a3d6-70e3032a3089"/>
    <ds:schemaRef ds:uri="821e24dd-0fa0-413c-a2eb-0b3240688335"/>
  </ds:schemaRefs>
</ds:datastoreItem>
</file>

<file path=customXml/itemProps3.xml><?xml version="1.0" encoding="utf-8"?>
<ds:datastoreItem xmlns:ds="http://schemas.openxmlformats.org/officeDocument/2006/customXml" ds:itemID="{AB83C4D7-8EBC-4B53-A229-FFBB763F614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92</TotalTime>
  <Words>515</Words>
  <Application>Microsoft Office PowerPoint</Application>
  <PresentationFormat>On-screen Show (4:3)</PresentationFormat>
  <Paragraphs>57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Wingdings</vt:lpstr>
      <vt:lpstr>1_Sempra Template 2021_4x3</vt:lpstr>
      <vt:lpstr>think-cell Slide</vt:lpstr>
      <vt:lpstr>Recomendaciones de Seguridad</vt:lpstr>
      <vt:lpstr>Objetivo</vt:lpstr>
      <vt:lpstr>Recomendaciones</vt:lpstr>
      <vt:lpstr>Recomendaciones</vt:lpstr>
      <vt:lpstr>Recomendaciones</vt:lpstr>
      <vt:lpstr>Recomendaciones</vt:lpstr>
      <vt:lpstr>CONTACTO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goes here</dc:title>
  <dc:creator>Breach, Mary</dc:creator>
  <cp:lastModifiedBy>Maldonado, Mitzli</cp:lastModifiedBy>
  <cp:revision>32</cp:revision>
  <dcterms:created xsi:type="dcterms:W3CDTF">2021-04-07T20:19:21Z</dcterms:created>
  <dcterms:modified xsi:type="dcterms:W3CDTF">2023-08-16T22:02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8012E1B564424187BA0013A1E4CC09</vt:lpwstr>
  </property>
  <property fmtid="{D5CDD505-2E9C-101B-9397-08002B2CF9AE}" pid="3" name="MediaServiceImageTags">
    <vt:lpwstr/>
  </property>
</Properties>
</file>